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Lst>
  <p:notesMasterIdLst>
    <p:notesMasterId r:id="rId11"/>
  </p:notesMasterIdLst>
  <p:handoutMasterIdLst>
    <p:handoutMasterId r:id="rId12"/>
  </p:handoutMasterIdLst>
  <p:sldIdLst>
    <p:sldId id="263" r:id="rId2"/>
    <p:sldId id="271" r:id="rId3"/>
    <p:sldId id="264" r:id="rId4"/>
    <p:sldId id="265" r:id="rId5"/>
    <p:sldId id="266" r:id="rId6"/>
    <p:sldId id="269" r:id="rId7"/>
    <p:sldId id="270" r:id="rId8"/>
    <p:sldId id="267" r:id="rId9"/>
    <p:sldId id="268" r:id="rId10"/>
  </p:sldIdLst>
  <p:sldSz cx="9144000" cy="6858000" type="screen4x3"/>
  <p:notesSz cx="6858000" cy="9144000"/>
  <p:defaultTextStyle>
    <a:defPPr>
      <a:defRPr lang="bg-B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5" d="100"/>
          <a:sy n="85" d="100"/>
        </p:scale>
        <p:origin x="-1368" y="-7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8" d="100"/>
          <a:sy n="68" d="100"/>
        </p:scale>
        <p:origin x="-3072" y="-5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bg-BG" smtClean="0"/>
              <a:t>13.1.2017 г.</a:t>
            </a:r>
            <a:endParaRPr lang="bg-BG"/>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bg-BG"/>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BFEE085-72A5-47A9-8041-8295121C40F0}" type="slidenum">
              <a:rPr lang="bg-BG" smtClean="0"/>
              <a:t>‹#›</a:t>
            </a:fld>
            <a:endParaRPr lang="bg-BG"/>
          </a:p>
        </p:txBody>
      </p:sp>
    </p:spTree>
    <p:extLst>
      <p:ext uri="{BB962C8B-B14F-4D97-AF65-F5344CB8AC3E}">
        <p14:creationId xmlns:p14="http://schemas.microsoft.com/office/powerpoint/2010/main" val="1647781883"/>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r>
              <a:rPr lang="bg-BG" smtClean="0"/>
              <a:t>13.1.2017 г.</a:t>
            </a:r>
            <a:endParaRPr lang="bg-BG"/>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bg-BG"/>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bg-BG"/>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B0CEC1B-100A-424C-AF41-8B5C02BF0D1D}" type="slidenum">
              <a:rPr lang="bg-BG" smtClean="0"/>
              <a:t>‹#›</a:t>
            </a:fld>
            <a:endParaRPr lang="bg-BG"/>
          </a:p>
        </p:txBody>
      </p:sp>
    </p:spTree>
    <p:extLst>
      <p:ext uri="{BB962C8B-B14F-4D97-AF65-F5344CB8AC3E}">
        <p14:creationId xmlns:p14="http://schemas.microsoft.com/office/powerpoint/2010/main" val="660566259"/>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
        <p:nvSpPr>
          <p:cNvPr id="4" name="Slide Number Placeholder 3"/>
          <p:cNvSpPr>
            <a:spLocks noGrp="1"/>
          </p:cNvSpPr>
          <p:nvPr>
            <p:ph type="sldNum" sz="quarter" idx="10"/>
          </p:nvPr>
        </p:nvSpPr>
        <p:spPr/>
        <p:txBody>
          <a:bodyPr/>
          <a:lstStyle/>
          <a:p>
            <a:fld id="{BB0CEC1B-100A-424C-AF41-8B5C02BF0D1D}" type="slidenum">
              <a:rPr lang="bg-BG" smtClean="0"/>
              <a:t>1</a:t>
            </a:fld>
            <a:endParaRPr lang="bg-BG"/>
          </a:p>
        </p:txBody>
      </p:sp>
      <p:sp>
        <p:nvSpPr>
          <p:cNvPr id="5" name="Date Placeholder 4"/>
          <p:cNvSpPr>
            <a:spLocks noGrp="1"/>
          </p:cNvSpPr>
          <p:nvPr>
            <p:ph type="dt" idx="11"/>
          </p:nvPr>
        </p:nvSpPr>
        <p:spPr/>
        <p:txBody>
          <a:bodyPr/>
          <a:lstStyle/>
          <a:p>
            <a:r>
              <a:rPr lang="bg-BG" smtClean="0"/>
              <a:t>13.1.2017 г.</a:t>
            </a:r>
            <a:endParaRPr lang="bg-BG"/>
          </a:p>
        </p:txBody>
      </p:sp>
    </p:spTree>
    <p:extLst>
      <p:ext uri="{BB962C8B-B14F-4D97-AF65-F5344CB8AC3E}">
        <p14:creationId xmlns:p14="http://schemas.microsoft.com/office/powerpoint/2010/main" val="1476271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
        <p:nvSpPr>
          <p:cNvPr id="4" name="Date Placeholder 3"/>
          <p:cNvSpPr>
            <a:spLocks noGrp="1"/>
          </p:cNvSpPr>
          <p:nvPr>
            <p:ph type="dt" idx="10"/>
          </p:nvPr>
        </p:nvSpPr>
        <p:spPr/>
        <p:txBody>
          <a:bodyPr/>
          <a:lstStyle/>
          <a:p>
            <a:r>
              <a:rPr lang="bg-BG" smtClean="0"/>
              <a:t>13.1.2017 г.</a:t>
            </a:r>
            <a:endParaRPr lang="bg-BG"/>
          </a:p>
        </p:txBody>
      </p:sp>
      <p:sp>
        <p:nvSpPr>
          <p:cNvPr id="5" name="Slide Number Placeholder 4"/>
          <p:cNvSpPr>
            <a:spLocks noGrp="1"/>
          </p:cNvSpPr>
          <p:nvPr>
            <p:ph type="sldNum" sz="quarter" idx="11"/>
          </p:nvPr>
        </p:nvSpPr>
        <p:spPr/>
        <p:txBody>
          <a:bodyPr/>
          <a:lstStyle/>
          <a:p>
            <a:fld id="{BB0CEC1B-100A-424C-AF41-8B5C02BF0D1D}" type="slidenum">
              <a:rPr lang="bg-BG" smtClean="0"/>
              <a:t>3</a:t>
            </a:fld>
            <a:endParaRPr lang="bg-BG"/>
          </a:p>
        </p:txBody>
      </p:sp>
    </p:spTree>
    <p:extLst>
      <p:ext uri="{BB962C8B-B14F-4D97-AF65-F5344CB8AC3E}">
        <p14:creationId xmlns:p14="http://schemas.microsoft.com/office/powerpoint/2010/main" val="4208202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
        <p:nvSpPr>
          <p:cNvPr id="4" name="Slide Number Placeholder 3"/>
          <p:cNvSpPr>
            <a:spLocks noGrp="1"/>
          </p:cNvSpPr>
          <p:nvPr>
            <p:ph type="sldNum" sz="quarter" idx="10"/>
          </p:nvPr>
        </p:nvSpPr>
        <p:spPr/>
        <p:txBody>
          <a:bodyPr/>
          <a:lstStyle/>
          <a:p>
            <a:fld id="{2AF9B8BD-A57E-45F0-AC2D-3C910EDBEC49}" type="slidenum">
              <a:rPr lang="en-US" smtClean="0"/>
              <a:pPr/>
              <a:t>4</a:t>
            </a:fld>
            <a:endParaRPr lang="en-US"/>
          </a:p>
        </p:txBody>
      </p:sp>
      <p:sp>
        <p:nvSpPr>
          <p:cNvPr id="5" name="Date Placeholder 4"/>
          <p:cNvSpPr>
            <a:spLocks noGrp="1"/>
          </p:cNvSpPr>
          <p:nvPr>
            <p:ph type="dt" idx="11"/>
          </p:nvPr>
        </p:nvSpPr>
        <p:spPr/>
        <p:txBody>
          <a:bodyPr/>
          <a:lstStyle/>
          <a:p>
            <a:r>
              <a:rPr lang="bg-BG" smtClean="0"/>
              <a:t>13.1.2017 г.</a:t>
            </a:r>
            <a:endParaRPr lang="bg-BG"/>
          </a:p>
        </p:txBody>
      </p:sp>
    </p:spTree>
    <p:extLst>
      <p:ext uri="{BB962C8B-B14F-4D97-AF65-F5344CB8AC3E}">
        <p14:creationId xmlns:p14="http://schemas.microsoft.com/office/powerpoint/2010/main" val="25229900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18" Type="http://schemas.openxmlformats.org/officeDocument/2006/relationships/hyperlink" Target="http://www.sebn.com/" TargetMode="External"/><Relationship Id="rId3" Type="http://schemas.openxmlformats.org/officeDocument/2006/relationships/slideMaster" Target="../slideMasters/slideMaster1.xml"/><Relationship Id="rId7" Type="http://schemas.openxmlformats.org/officeDocument/2006/relationships/image" Target="../media/image8.png"/><Relationship Id="rId12" Type="http://schemas.openxmlformats.org/officeDocument/2006/relationships/image" Target="../media/image11.png"/><Relationship Id="rId17" Type="http://schemas.openxmlformats.org/officeDocument/2006/relationships/hyperlink" Target="http://maps.google.de/maps?f=q&amp;hl=de&amp;geocode=&amp;q=sumitomo+electric+bordnetze+gmbh+wolfsburg&amp;ie=UTF8&amp;ll=52.391525,10.777588&amp;spn=0.102035,0.219727&amp;z=12&amp;iwloc=A" TargetMode="External"/><Relationship Id="rId2" Type="http://schemas.openxmlformats.org/officeDocument/2006/relationships/tags" Target="../tags/tag16.xml"/><Relationship Id="rId16" Type="http://schemas.openxmlformats.org/officeDocument/2006/relationships/image" Target="../media/image18.jpeg"/><Relationship Id="rId1" Type="http://schemas.openxmlformats.org/officeDocument/2006/relationships/tags" Target="../tags/tag15.xml"/><Relationship Id="rId6" Type="http://schemas.openxmlformats.org/officeDocument/2006/relationships/image" Target="../media/image6.png"/><Relationship Id="rId11" Type="http://schemas.openxmlformats.org/officeDocument/2006/relationships/image" Target="../media/image10.png"/><Relationship Id="rId5" Type="http://schemas.openxmlformats.org/officeDocument/2006/relationships/image" Target="../media/image5.png"/><Relationship Id="rId15" Type="http://schemas.openxmlformats.org/officeDocument/2006/relationships/image" Target="../media/image14.png"/><Relationship Id="rId10" Type="http://schemas.openxmlformats.org/officeDocument/2006/relationships/image" Target="../media/image17.png"/><Relationship Id="rId19" Type="http://schemas.openxmlformats.org/officeDocument/2006/relationships/hyperlink" Target="mailto:info@sebn.com" TargetMode="External"/><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18" Type="http://schemas.openxmlformats.org/officeDocument/2006/relationships/image" Target="../media/image14.png"/><Relationship Id="rId3" Type="http://schemas.openxmlformats.org/officeDocument/2006/relationships/tags" Target="../tags/tag11.xml"/><Relationship Id="rId21" Type="http://schemas.openxmlformats.org/officeDocument/2006/relationships/image" Target="../media/image17.png"/><Relationship Id="rId7" Type="http://schemas.openxmlformats.org/officeDocument/2006/relationships/hyperlink" Target="mailto:info@sebn.com" TargetMode="External"/><Relationship Id="rId12" Type="http://schemas.openxmlformats.org/officeDocument/2006/relationships/image" Target="../media/image8.png"/><Relationship Id="rId17" Type="http://schemas.openxmlformats.org/officeDocument/2006/relationships/image" Target="../media/image13.png"/><Relationship Id="rId2" Type="http://schemas.openxmlformats.org/officeDocument/2006/relationships/tags" Target="../tags/tag10.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tags" Target="../tags/tag9.xml"/><Relationship Id="rId6" Type="http://schemas.openxmlformats.org/officeDocument/2006/relationships/hyperlink" Target="http://www.sebn.com/" TargetMode="External"/><Relationship Id="rId11" Type="http://schemas.openxmlformats.org/officeDocument/2006/relationships/image" Target="../media/image7.png"/><Relationship Id="rId5" Type="http://schemas.openxmlformats.org/officeDocument/2006/relationships/hyperlink" Target="http://maps.google.de/maps?f=q&amp;hl=de&amp;geocode=&amp;q=sumitomo+electric+bordnetze+gmbh+wolfsburg&amp;ie=UTF8&amp;ll=52.391525,10.777588&amp;spn=0.102035,0.219727&amp;z=12&amp;iwloc=A" TargetMode="External"/><Relationship Id="rId15" Type="http://schemas.openxmlformats.org/officeDocument/2006/relationships/image" Target="../media/image11.png"/><Relationship Id="rId10" Type="http://schemas.openxmlformats.org/officeDocument/2006/relationships/image" Target="../media/image6.png"/><Relationship Id="rId19" Type="http://schemas.openxmlformats.org/officeDocument/2006/relationships/image" Target="../media/image15.jpeg"/><Relationship Id="rId4" Type="http://schemas.openxmlformats.org/officeDocument/2006/relationships/slideMaster" Target="../slideMasters/slideMaster1.xml"/><Relationship Id="rId9" Type="http://schemas.openxmlformats.org/officeDocument/2006/relationships/image" Target="../media/image5.png"/><Relationship Id="rId14" Type="http://schemas.openxmlformats.org/officeDocument/2006/relationships/image" Target="../media/image10.png"/><Relationship Id="rId22" Type="http://schemas.openxmlformats.org/officeDocument/2006/relationships/image" Target="../media/image18.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9.jpeg"/><Relationship Id="rId5" Type="http://schemas.openxmlformats.org/officeDocument/2006/relationships/image" Target="../media/image3.jpeg"/><Relationship Id="rId4" Type="http://schemas.openxmlformats.org/officeDocument/2006/relationships/image" Target="../media/image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Management Summary">
    <p:spTree>
      <p:nvGrpSpPr>
        <p:cNvPr id="1" name=""/>
        <p:cNvGrpSpPr/>
        <p:nvPr/>
      </p:nvGrpSpPr>
      <p:grpSpPr>
        <a:xfrm>
          <a:off x="0" y="0"/>
          <a:ext cx="0" cy="0"/>
          <a:chOff x="0" y="0"/>
          <a:chExt cx="0" cy="0"/>
        </a:xfrm>
      </p:grpSpPr>
      <p:sp>
        <p:nvSpPr>
          <p:cNvPr id="14" name="Textplatzhalter 8"/>
          <p:cNvSpPr>
            <a:spLocks noGrp="1"/>
          </p:cNvSpPr>
          <p:nvPr>
            <p:ph type="body" sz="quarter" idx="20" hasCustomPrompt="1"/>
          </p:nvPr>
        </p:nvSpPr>
        <p:spPr>
          <a:xfrm>
            <a:off x="468312" y="1430710"/>
            <a:ext cx="8424168" cy="288503"/>
          </a:xfrm>
        </p:spPr>
        <p:txBody>
          <a:bodyPr/>
          <a:lstStyle>
            <a:lvl1pPr marL="342900" marR="0" indent="-342900" algn="l" defTabSz="914400" rtl="0" eaLnBrk="1" fontAlgn="base" latinLnBrk="0" hangingPunct="1">
              <a:lnSpc>
                <a:spcPct val="100000"/>
              </a:lnSpc>
              <a:spcBef>
                <a:spcPct val="20000"/>
              </a:spcBef>
              <a:spcAft>
                <a:spcPct val="0"/>
              </a:spcAft>
              <a:buClrTx/>
              <a:buSzTx/>
              <a:buFontTx/>
              <a:buNone/>
              <a:tabLst/>
              <a:defRPr sz="1600" b="0"/>
            </a:lvl1pPr>
          </a:lstStyle>
          <a:p>
            <a:pPr marL="342900" marR="0" lvl="0" indent="-342900" algn="l" defTabSz="914400" rtl="0" eaLnBrk="1" fontAlgn="base" latinLnBrk="0" hangingPunct="1">
              <a:lnSpc>
                <a:spcPct val="100000"/>
              </a:lnSpc>
              <a:spcBef>
                <a:spcPct val="20000"/>
              </a:spcBef>
              <a:spcAft>
                <a:spcPct val="0"/>
              </a:spcAft>
              <a:buClrTx/>
              <a:buSzTx/>
              <a:buFontTx/>
              <a:buNone/>
              <a:tabLst/>
              <a:defRPr/>
            </a:pPr>
            <a:r>
              <a:rPr lang="en-US" noProof="0" smtClean="0"/>
              <a:t>Click to add subtitle</a:t>
            </a:r>
          </a:p>
          <a:p>
            <a:pPr lvl="0"/>
            <a:endParaRPr lang="en-US" noProof="0"/>
          </a:p>
        </p:txBody>
      </p:sp>
      <p:sp>
        <p:nvSpPr>
          <p:cNvPr id="19" name="Bildplatzhalter 18"/>
          <p:cNvSpPr>
            <a:spLocks noGrp="1"/>
          </p:cNvSpPr>
          <p:nvPr>
            <p:ph type="pic" sz="quarter" idx="24" hasCustomPrompt="1"/>
          </p:nvPr>
        </p:nvSpPr>
        <p:spPr>
          <a:xfrm>
            <a:off x="466727" y="1989142"/>
            <a:ext cx="1787815" cy="4103687"/>
          </a:xfrm>
        </p:spPr>
        <p:txBody>
          <a:bodyPr/>
          <a:lstStyle>
            <a:lvl1pPr marL="0">
              <a:spcBef>
                <a:spcPts val="0"/>
              </a:spcBef>
              <a:defRPr sz="1200">
                <a:solidFill>
                  <a:schemeClr val="accent6"/>
                </a:solidFill>
              </a:defRPr>
            </a:lvl1pPr>
          </a:lstStyle>
          <a:p>
            <a:r>
              <a:rPr lang="de-DE" noProof="0" dirty="0" smtClean="0"/>
              <a:t>Click </a:t>
            </a:r>
            <a:r>
              <a:rPr lang="de-DE" noProof="0" dirty="0" err="1" smtClean="0"/>
              <a:t>to</a:t>
            </a:r>
            <a:r>
              <a:rPr lang="de-DE" noProof="0" dirty="0" smtClean="0"/>
              <a:t> </a:t>
            </a:r>
            <a:r>
              <a:rPr lang="de-DE" noProof="0" dirty="0" err="1" smtClean="0"/>
              <a:t>add</a:t>
            </a:r>
            <a:r>
              <a:rPr lang="de-DE" noProof="0" dirty="0" smtClean="0"/>
              <a:t> </a:t>
            </a:r>
            <a:r>
              <a:rPr lang="de-DE" noProof="0" dirty="0" err="1" smtClean="0"/>
              <a:t>image</a:t>
            </a:r>
            <a:endParaRPr lang="en-US" noProof="0" dirty="0"/>
          </a:p>
        </p:txBody>
      </p:sp>
      <p:sp>
        <p:nvSpPr>
          <p:cNvPr id="21" name="Inhaltsplatzhalter 20"/>
          <p:cNvSpPr>
            <a:spLocks noGrp="1"/>
          </p:cNvSpPr>
          <p:nvPr>
            <p:ph sz="quarter" idx="25" hasCustomPrompt="1"/>
          </p:nvPr>
        </p:nvSpPr>
        <p:spPr>
          <a:xfrm>
            <a:off x="2378526" y="1989142"/>
            <a:ext cx="6514650" cy="4103687"/>
          </a:xfrm>
        </p:spPr>
        <p:txBody>
          <a:bodyPr/>
          <a:lstStyle>
            <a:lvl1pPr>
              <a:defRPr sz="1200" baseline="0">
                <a:solidFill>
                  <a:schemeClr val="accent6"/>
                </a:solidFill>
              </a:defRPr>
            </a:lvl1pPr>
            <a:lvl2pPr>
              <a:defRPr sz="1200">
                <a:solidFill>
                  <a:schemeClr val="accent6"/>
                </a:solidFill>
              </a:defRPr>
            </a:lvl2pPr>
            <a:lvl3pPr>
              <a:defRPr sz="1200">
                <a:solidFill>
                  <a:schemeClr val="accent6"/>
                </a:solidFill>
              </a:defRPr>
            </a:lvl3pPr>
            <a:lvl4pPr>
              <a:defRPr sz="1200">
                <a:solidFill>
                  <a:schemeClr val="accent6"/>
                </a:solidFill>
              </a:defRPr>
            </a:lvl4pPr>
            <a:lvl5pPr>
              <a:defRPr sz="1200">
                <a:solidFill>
                  <a:schemeClr val="accent6"/>
                </a:solidFill>
              </a:defRPr>
            </a:lvl5pPr>
          </a:lstStyle>
          <a:p>
            <a:pPr lvl="0"/>
            <a:r>
              <a:rPr lang="de-DE" noProof="0" dirty="0" smtClean="0"/>
              <a:t>Click </a:t>
            </a:r>
            <a:r>
              <a:rPr lang="de-DE" noProof="0" dirty="0" err="1" smtClean="0"/>
              <a:t>to</a:t>
            </a:r>
            <a:r>
              <a:rPr lang="de-DE" noProof="0" dirty="0" smtClean="0"/>
              <a:t> </a:t>
            </a:r>
            <a:r>
              <a:rPr lang="de-DE" noProof="0" dirty="0" err="1" smtClean="0"/>
              <a:t>add</a:t>
            </a:r>
            <a:r>
              <a:rPr lang="de-DE" noProof="0" dirty="0" smtClean="0"/>
              <a:t> </a:t>
            </a:r>
            <a:r>
              <a:rPr lang="de-DE" noProof="0" dirty="0" err="1" smtClean="0"/>
              <a:t>text</a:t>
            </a:r>
            <a:endParaRPr lang="de-DE" noProof="0" dirty="0" smtClean="0"/>
          </a:p>
          <a:p>
            <a:pPr lvl="1"/>
            <a:r>
              <a:rPr lang="de-DE" noProof="0" dirty="0" smtClean="0"/>
              <a:t>Second Level</a:t>
            </a:r>
          </a:p>
          <a:p>
            <a:pPr lvl="2"/>
            <a:r>
              <a:rPr lang="de-DE" noProof="0" dirty="0" smtClean="0"/>
              <a:t>Third Level</a:t>
            </a:r>
          </a:p>
          <a:p>
            <a:pPr lvl="3"/>
            <a:r>
              <a:rPr lang="de-DE" noProof="0" dirty="0" err="1" smtClean="0"/>
              <a:t>Fourth</a:t>
            </a:r>
            <a:r>
              <a:rPr lang="de-DE" noProof="0" dirty="0" smtClean="0"/>
              <a:t> Level</a:t>
            </a:r>
          </a:p>
          <a:p>
            <a:pPr lvl="4"/>
            <a:r>
              <a:rPr lang="de-DE" noProof="0" dirty="0" err="1" smtClean="0"/>
              <a:t>Fifth</a:t>
            </a:r>
            <a:r>
              <a:rPr lang="de-DE" noProof="0" dirty="0" smtClean="0"/>
              <a:t> Level</a:t>
            </a:r>
            <a:endParaRPr lang="en-US" noProof="0" dirty="0"/>
          </a:p>
        </p:txBody>
      </p:sp>
      <p:sp>
        <p:nvSpPr>
          <p:cNvPr id="9" name="Rectangle 3"/>
          <p:cNvSpPr>
            <a:spLocks noGrp="1" noChangeArrowheads="1"/>
          </p:cNvSpPr>
          <p:nvPr>
            <p:ph type="title" hasCustomPrompt="1"/>
          </p:nvPr>
        </p:nvSpPr>
        <p:spPr bwMode="auto">
          <a:xfrm>
            <a:off x="457681" y="889932"/>
            <a:ext cx="8434800" cy="46831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a:lvl1p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Tree>
  </p:cSld>
  <p:clrMapOvr>
    <a:masterClrMapping/>
  </p:clrMapOvr>
  <p:transition/>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2_Titelfolie">
    <p:spTree>
      <p:nvGrpSpPr>
        <p:cNvPr id="1" name=""/>
        <p:cNvGrpSpPr/>
        <p:nvPr/>
      </p:nvGrpSpPr>
      <p:grpSpPr>
        <a:xfrm>
          <a:off x="0" y="0"/>
          <a:ext cx="0" cy="0"/>
          <a:chOff x="0" y="0"/>
          <a:chExt cx="0" cy="0"/>
        </a:xfrm>
      </p:grpSpPr>
      <p:sp>
        <p:nvSpPr>
          <p:cNvPr id="8" name="Rectangle 17"/>
          <p:cNvSpPr>
            <a:spLocks noGrp="1" noChangeArrowheads="1"/>
          </p:cNvSpPr>
          <p:nvPr>
            <p:ph type="ctrTitle" hasCustomPrompt="1"/>
          </p:nvPr>
        </p:nvSpPr>
        <p:spPr>
          <a:xfrm>
            <a:off x="251521" y="3356992"/>
            <a:ext cx="7920880" cy="575247"/>
          </a:xfrm>
          <a:prstGeom prst="rect">
            <a:avLst/>
          </a:prstGeom>
          <a:ln>
            <a:noFill/>
          </a:ln>
        </p:spPr>
        <p:txBody>
          <a:bodyPr anchor="b"/>
          <a:lstStyle>
            <a:lvl1pPr algn="l">
              <a:defRPr sz="2000" baseline="0">
                <a:solidFill>
                  <a:srgbClr val="004E9E"/>
                </a:solidFill>
              </a:defRPr>
            </a:lvl1pPr>
          </a:lstStyle>
          <a:p>
            <a:r>
              <a:rPr lang="en-US" dirty="0" smtClean="0"/>
              <a:t>Click to add text</a:t>
            </a:r>
            <a:endParaRPr lang="en-US" dirty="0"/>
          </a:p>
        </p:txBody>
      </p:sp>
      <p:sp>
        <p:nvSpPr>
          <p:cNvPr id="9" name="Rectangle 18"/>
          <p:cNvSpPr>
            <a:spLocks noGrp="1" noChangeArrowheads="1"/>
          </p:cNvSpPr>
          <p:nvPr>
            <p:ph type="subTitle" idx="1" hasCustomPrompt="1"/>
          </p:nvPr>
        </p:nvSpPr>
        <p:spPr>
          <a:xfrm>
            <a:off x="251520" y="3967164"/>
            <a:ext cx="7913553" cy="325933"/>
          </a:xfrm>
          <a:prstGeom prst="rect">
            <a:avLst/>
          </a:prstGeom>
        </p:spPr>
        <p:txBody>
          <a:bodyPr rIns="0"/>
          <a:lstStyle>
            <a:lvl1pPr marL="0" indent="0" algn="l">
              <a:defRPr sz="1800" b="0">
                <a:solidFill>
                  <a:srgbClr val="004E9E"/>
                </a:solidFill>
              </a:defRPr>
            </a:lvl1pPr>
          </a:lstStyle>
          <a:p>
            <a:r>
              <a:rPr lang="en-US" dirty="0" smtClean="0"/>
              <a:t>Click to add text</a:t>
            </a:r>
            <a:endParaRPr lang="en-US" dirty="0"/>
          </a:p>
        </p:txBody>
      </p:sp>
      <p:sp>
        <p:nvSpPr>
          <p:cNvPr id="10" name="Line 19"/>
          <p:cNvSpPr>
            <a:spLocks noChangeShapeType="1"/>
          </p:cNvSpPr>
          <p:nvPr userDrawn="1"/>
        </p:nvSpPr>
        <p:spPr bwMode="auto">
          <a:xfrm>
            <a:off x="264130" y="3932238"/>
            <a:ext cx="8172000" cy="0"/>
          </a:xfrm>
          <a:prstGeom prst="line">
            <a:avLst/>
          </a:prstGeom>
          <a:noFill/>
          <a:ln w="9525">
            <a:solidFill>
              <a:schemeClr val="accent6"/>
            </a:solidFill>
            <a:round/>
            <a:headEnd/>
            <a:tailEnd/>
          </a:ln>
          <a:effectLst/>
        </p:spPr>
        <p:txBody>
          <a:bodyPr/>
          <a:lstStyle/>
          <a:p>
            <a:pPr fontAlgn="base">
              <a:spcBef>
                <a:spcPct val="0"/>
              </a:spcBef>
              <a:spcAft>
                <a:spcPct val="0"/>
              </a:spcAft>
            </a:pPr>
            <a:endParaRPr lang="de-DE">
              <a:solidFill>
                <a:srgbClr val="004E9E"/>
              </a:solidFill>
            </a:endParaRPr>
          </a:p>
        </p:txBody>
      </p:sp>
      <p:sp>
        <p:nvSpPr>
          <p:cNvPr id="12" name="Textplatzhalter 10"/>
          <p:cNvSpPr>
            <a:spLocks noGrp="1"/>
          </p:cNvSpPr>
          <p:nvPr>
            <p:ph type="body" sz="quarter" idx="10" hasCustomPrompt="1"/>
          </p:nvPr>
        </p:nvSpPr>
        <p:spPr>
          <a:xfrm>
            <a:off x="251520" y="4580239"/>
            <a:ext cx="2880518" cy="288925"/>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5pPr marL="0" indent="0" algn="l" rtl="0" eaLnBrk="1" fontAlgn="base" hangingPunct="1">
              <a:spcBef>
                <a:spcPct val="20000"/>
              </a:spcBef>
              <a:spcAft>
                <a:spcPct val="0"/>
              </a:spcAft>
              <a:buNone/>
              <a:defRPr lang="en-US" sz="1800" b="0" dirty="0" smtClean="0">
                <a:solidFill>
                  <a:srgbClr val="004E9E"/>
                </a:solidFill>
                <a:latin typeface="+mn-lt"/>
                <a:ea typeface="+mn-ea"/>
                <a:cs typeface="+mn-cs"/>
              </a:defRPr>
            </a:lvl5pPr>
          </a:lstStyle>
          <a:p>
            <a:pPr lvl="4"/>
            <a:r>
              <a:rPr lang="en-US" dirty="0" smtClean="0"/>
              <a:t>Venue, Date</a:t>
            </a:r>
            <a:endParaRPr lang="en-US" dirty="0"/>
          </a:p>
        </p:txBody>
      </p:sp>
      <p:sp>
        <p:nvSpPr>
          <p:cNvPr id="15" name="Line 11"/>
          <p:cNvSpPr>
            <a:spLocks noChangeShapeType="1"/>
          </p:cNvSpPr>
          <p:nvPr userDrawn="1">
            <p:custDataLst>
              <p:tags r:id="rId1"/>
            </p:custDataLst>
          </p:nvPr>
        </p:nvSpPr>
        <p:spPr bwMode="auto">
          <a:xfrm>
            <a:off x="-1664" y="692696"/>
            <a:ext cx="9144000" cy="0"/>
          </a:xfrm>
          <a:prstGeom prst="line">
            <a:avLst/>
          </a:prstGeom>
          <a:noFill/>
          <a:ln w="76200">
            <a:solidFill>
              <a:schemeClr val="tx1"/>
            </a:solidFill>
            <a:round/>
            <a:headEnd/>
            <a:tailEnd/>
          </a:ln>
          <a:effectLst/>
        </p:spPr>
        <p:txBody>
          <a:bodyPr/>
          <a:lstStyle/>
          <a:p>
            <a:pPr fontAlgn="base">
              <a:spcBef>
                <a:spcPct val="0"/>
              </a:spcBef>
              <a:spcAft>
                <a:spcPct val="0"/>
              </a:spcAft>
            </a:pPr>
            <a:endParaRPr lang="de-DE">
              <a:solidFill>
                <a:srgbClr val="000000"/>
              </a:solidFill>
            </a:endParaRPr>
          </a:p>
        </p:txBody>
      </p:sp>
      <p:sp>
        <p:nvSpPr>
          <p:cNvPr id="13" name="Textfeld 7"/>
          <p:cNvSpPr txBox="1">
            <a:spLocks noChangeArrowheads="1"/>
          </p:cNvSpPr>
          <p:nvPr userDrawn="1"/>
        </p:nvSpPr>
        <p:spPr bwMode="auto">
          <a:xfrm>
            <a:off x="6603306" y="5229200"/>
            <a:ext cx="2008620" cy="400110"/>
          </a:xfrm>
          <a:prstGeom prst="rect">
            <a:avLst/>
          </a:prstGeom>
          <a:solidFill>
            <a:schemeClr val="bg1"/>
          </a:solidFill>
          <a:ln w="9525">
            <a:noFill/>
            <a:miter lim="800000"/>
            <a:headEnd/>
            <a:tailEnd/>
          </a:ln>
        </p:spPr>
        <p:txBody>
          <a:bodyPr wrap="square">
            <a:spAutoFit/>
          </a:bodyPr>
          <a:lstStyle/>
          <a:p>
            <a:pPr algn="ctr"/>
            <a:r>
              <a:rPr lang="en-GB" sz="2000" b="1" dirty="0" smtClean="0">
                <a:solidFill>
                  <a:srgbClr val="C00000"/>
                </a:solidFill>
              </a:rPr>
              <a:t>CONFIDENTIAL</a:t>
            </a:r>
            <a:endParaRPr lang="en-GB" sz="2000" b="1" dirty="0">
              <a:solidFill>
                <a:srgbClr val="C00000"/>
              </a:solidFill>
            </a:endParaRPr>
          </a:p>
        </p:txBody>
      </p:sp>
      <p:sp>
        <p:nvSpPr>
          <p:cNvPr id="14" name="Rechteck 13"/>
          <p:cNvSpPr/>
          <p:nvPr userDrawn="1"/>
        </p:nvSpPr>
        <p:spPr>
          <a:xfrm>
            <a:off x="6233723" y="4869160"/>
            <a:ext cx="2326412" cy="1440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P:\Corporate_Communications\Corporate Design Policy\Logos\Logo SEBN Group\Logo_Sumitomo_Electric_Bordnetze_Group_1 Zeile_ohne_Igeta.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442708" y="6310801"/>
            <a:ext cx="2525819" cy="172611"/>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0220" y="0"/>
            <a:ext cx="1926251" cy="630000"/>
          </a:xfrm>
          <a:prstGeom prst="rect">
            <a:avLst/>
          </a:prstGeom>
        </p:spPr>
      </p:pic>
    </p:spTree>
    <p:extLst>
      <p:ext uri="{BB962C8B-B14F-4D97-AF65-F5344CB8AC3E}">
        <p14:creationId xmlns:p14="http://schemas.microsoft.com/office/powerpoint/2010/main" val="2449104932"/>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General Inpu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a:defRPr sz="1200">
                <a:solidFill>
                  <a:schemeClr val="accent6"/>
                </a:solidFill>
              </a:defRPr>
            </a:lvl1pPr>
            <a:lvl2pPr>
              <a:buClr>
                <a:srgbClr val="08398A"/>
              </a:buClr>
              <a:buFont typeface="Arial" pitchFamily="34" charset="0"/>
              <a:buChar char="■"/>
              <a:defRPr sz="1200">
                <a:solidFill>
                  <a:schemeClr val="accent6"/>
                </a:solidFill>
              </a:defRPr>
            </a:lvl2pPr>
            <a:lvl3pPr>
              <a:buClr>
                <a:srgbClr val="08398A"/>
              </a:buClr>
              <a:buFont typeface="Arial" pitchFamily="34" charset="0"/>
              <a:buChar char="■"/>
              <a:defRPr sz="1200">
                <a:solidFill>
                  <a:schemeClr val="accent6"/>
                </a:solidFill>
              </a:defRPr>
            </a:lvl3pPr>
            <a:lvl4pPr>
              <a:buClr>
                <a:srgbClr val="08398A"/>
              </a:buClr>
              <a:buFont typeface="Arial" pitchFamily="34" charset="0"/>
              <a:buChar char="■"/>
              <a:defRPr sz="1200">
                <a:solidFill>
                  <a:schemeClr val="accent6"/>
                </a:solidFill>
              </a:defRPr>
            </a:lvl4pPr>
            <a:lvl5pPr>
              <a:buClr>
                <a:srgbClr val="08398A"/>
              </a:buClr>
              <a:buFont typeface="Arial" pitchFamily="34" charset="0"/>
              <a:buChar char="■"/>
              <a:defRPr sz="1200">
                <a:solidFill>
                  <a:schemeClr val="accent6"/>
                </a:solidFill>
              </a:defRPr>
            </a:lvl5pPr>
          </a:lstStyle>
          <a:p>
            <a:pPr lvl="0"/>
            <a:r>
              <a:rPr lang="en-US" noProof="0" dirty="0" smtClean="0"/>
              <a:t>Click to add text</a:t>
            </a:r>
          </a:p>
          <a:p>
            <a:pPr lvl="1"/>
            <a:r>
              <a:rPr lang="en-US" noProof="0" dirty="0" smtClean="0"/>
              <a:t>Level 2</a:t>
            </a:r>
          </a:p>
          <a:p>
            <a:pPr lvl="2"/>
            <a:r>
              <a:rPr lang="en-US" noProof="0" dirty="0" smtClean="0"/>
              <a:t>Level 3</a:t>
            </a:r>
          </a:p>
          <a:p>
            <a:pPr lvl="3"/>
            <a:r>
              <a:rPr lang="en-US" noProof="0" dirty="0" smtClean="0"/>
              <a:t>Level 4</a:t>
            </a:r>
          </a:p>
          <a:p>
            <a:pPr lvl="4"/>
            <a:r>
              <a:rPr lang="en-US" noProof="0" dirty="0" smtClean="0"/>
              <a:t>Level 5</a:t>
            </a:r>
            <a:endParaRPr lang="en-US" noProof="0" dirty="0"/>
          </a:p>
        </p:txBody>
      </p:sp>
      <p:sp>
        <p:nvSpPr>
          <p:cNvPr id="9" name="Textplatzhalter 8"/>
          <p:cNvSpPr>
            <a:spLocks noGrp="1"/>
          </p:cNvSpPr>
          <p:nvPr>
            <p:ph type="body" sz="quarter" idx="10" hasCustomPrompt="1"/>
          </p:nvPr>
        </p:nvSpPr>
        <p:spPr>
          <a:xfrm>
            <a:off x="468312" y="1430710"/>
            <a:ext cx="8424168" cy="288503"/>
          </a:xfrm>
        </p:spPr>
        <p:txBody>
          <a:bodyPr/>
          <a:lstStyle>
            <a:lvl1pPr>
              <a:defRPr sz="1600" b="0" baseline="0"/>
            </a:lvl1pPr>
          </a:lstStyle>
          <a:p>
            <a:pPr lvl="0"/>
            <a:r>
              <a:rPr lang="en-US" noProof="0" smtClean="0"/>
              <a:t>Click to add subtitle</a:t>
            </a:r>
            <a:endParaRPr lang="en-US" noProof="0"/>
          </a:p>
        </p:txBody>
      </p:sp>
      <p:sp>
        <p:nvSpPr>
          <p:cNvPr id="17" name="Rectangle 3"/>
          <p:cNvSpPr>
            <a:spLocks noGrp="1" noChangeArrowheads="1"/>
          </p:cNvSpPr>
          <p:nvPr>
            <p:ph type="title" hasCustomPrompt="1"/>
          </p:nvPr>
        </p:nvSpPr>
        <p:spPr bwMode="auto">
          <a:xfrm>
            <a:off x="457681" y="889932"/>
            <a:ext cx="8434800" cy="46831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a:lvl1p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Tree>
    <p:extLst>
      <p:ext uri="{BB962C8B-B14F-4D97-AF65-F5344CB8AC3E}">
        <p14:creationId xmlns:p14="http://schemas.microsoft.com/office/powerpoint/2010/main" val="200322217"/>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Układ niestandardowy">
    <p:spTree>
      <p:nvGrpSpPr>
        <p:cNvPr id="1" name=""/>
        <p:cNvGrpSpPr/>
        <p:nvPr/>
      </p:nvGrpSpPr>
      <p:grpSpPr>
        <a:xfrm>
          <a:off x="0" y="0"/>
          <a:ext cx="0" cy="0"/>
          <a:chOff x="0" y="0"/>
          <a:chExt cx="0" cy="0"/>
        </a:xfrm>
      </p:grpSpPr>
      <p:grpSp>
        <p:nvGrpSpPr>
          <p:cNvPr id="3" name="Group 2"/>
          <p:cNvGrpSpPr>
            <a:grpSpLocks/>
          </p:cNvGrpSpPr>
          <p:nvPr userDrawn="1"/>
        </p:nvGrpSpPr>
        <p:grpSpPr bwMode="auto">
          <a:xfrm>
            <a:off x="1156189" y="1341438"/>
            <a:ext cx="6642588" cy="4572000"/>
            <a:chOff x="1216" y="681"/>
            <a:chExt cx="3628" cy="2404"/>
          </a:xfrm>
        </p:grpSpPr>
        <p:grpSp>
          <p:nvGrpSpPr>
            <p:cNvPr id="4" name="Group 2"/>
            <p:cNvGrpSpPr>
              <a:grpSpLocks/>
            </p:cNvGrpSpPr>
            <p:nvPr/>
          </p:nvGrpSpPr>
          <p:grpSpPr bwMode="auto">
            <a:xfrm>
              <a:off x="1216" y="681"/>
              <a:ext cx="3628" cy="2404"/>
              <a:chOff x="234" y="278"/>
              <a:chExt cx="236" cy="164"/>
            </a:xfrm>
          </p:grpSpPr>
          <p:sp>
            <p:nvSpPr>
              <p:cNvPr id="6" name="Rectangle 3"/>
              <p:cNvSpPr>
                <a:spLocks noChangeArrowheads="1"/>
              </p:cNvSpPr>
              <p:nvPr/>
            </p:nvSpPr>
            <p:spPr bwMode="auto">
              <a:xfrm>
                <a:off x="234" y="278"/>
                <a:ext cx="236" cy="164"/>
              </a:xfrm>
              <a:prstGeom prst="rect">
                <a:avLst/>
              </a:prstGeom>
              <a:solidFill>
                <a:srgbClr val="33CC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ja-JP" altLang="en-US" sz="2400" i="1">
                  <a:solidFill>
                    <a:srgbClr val="FF0000"/>
                  </a:solidFill>
                  <a:cs typeface="Arial" charset="0"/>
                </a:endParaRPr>
              </a:p>
            </p:txBody>
          </p:sp>
          <p:sp>
            <p:nvSpPr>
              <p:cNvPr id="7" name="Freeform 4"/>
              <p:cNvSpPr>
                <a:spLocks/>
              </p:cNvSpPr>
              <p:nvPr/>
            </p:nvSpPr>
            <p:spPr bwMode="auto">
              <a:xfrm>
                <a:off x="274" y="282"/>
                <a:ext cx="158" cy="156"/>
              </a:xfrm>
              <a:custGeom>
                <a:avLst/>
                <a:gdLst>
                  <a:gd name="T0" fmla="*/ 0 w 499"/>
                  <a:gd name="T1" fmla="*/ 0 h 491"/>
                  <a:gd name="T2" fmla="*/ 0 w 499"/>
                  <a:gd name="T3" fmla="*/ 0 h 491"/>
                  <a:gd name="T4" fmla="*/ 0 w 499"/>
                  <a:gd name="T5" fmla="*/ 0 h 491"/>
                  <a:gd name="T6" fmla="*/ 0 w 499"/>
                  <a:gd name="T7" fmla="*/ 0 h 491"/>
                  <a:gd name="T8" fmla="*/ 0 w 499"/>
                  <a:gd name="T9" fmla="*/ 0 h 491"/>
                  <a:gd name="T10" fmla="*/ 0 w 499"/>
                  <a:gd name="T11" fmla="*/ 0 h 491"/>
                  <a:gd name="T12" fmla="*/ 0 w 499"/>
                  <a:gd name="T13" fmla="*/ 0 h 491"/>
                  <a:gd name="T14" fmla="*/ 0 w 499"/>
                  <a:gd name="T15" fmla="*/ 0 h 491"/>
                  <a:gd name="T16" fmla="*/ 0 w 499"/>
                  <a:gd name="T17" fmla="*/ 0 h 491"/>
                  <a:gd name="T18" fmla="*/ 0 w 499"/>
                  <a:gd name="T19" fmla="*/ 0 h 491"/>
                  <a:gd name="T20" fmla="*/ 0 w 499"/>
                  <a:gd name="T21" fmla="*/ 0 h 491"/>
                  <a:gd name="T22" fmla="*/ 0 w 499"/>
                  <a:gd name="T23" fmla="*/ 0 h 491"/>
                  <a:gd name="T24" fmla="*/ 0 w 499"/>
                  <a:gd name="T25" fmla="*/ 0 h 4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9"/>
                  <a:gd name="T40" fmla="*/ 0 h 491"/>
                  <a:gd name="T41" fmla="*/ 499 w 499"/>
                  <a:gd name="T42" fmla="*/ 491 h 4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9" h="491">
                    <a:moveTo>
                      <a:pt x="166" y="0"/>
                    </a:moveTo>
                    <a:lnTo>
                      <a:pt x="334" y="0"/>
                    </a:lnTo>
                    <a:lnTo>
                      <a:pt x="334" y="163"/>
                    </a:lnTo>
                    <a:lnTo>
                      <a:pt x="498" y="163"/>
                    </a:lnTo>
                    <a:lnTo>
                      <a:pt x="498" y="324"/>
                    </a:lnTo>
                    <a:lnTo>
                      <a:pt x="332" y="324"/>
                    </a:lnTo>
                    <a:lnTo>
                      <a:pt x="332" y="490"/>
                    </a:lnTo>
                    <a:lnTo>
                      <a:pt x="166" y="490"/>
                    </a:lnTo>
                    <a:lnTo>
                      <a:pt x="166" y="326"/>
                    </a:lnTo>
                    <a:lnTo>
                      <a:pt x="0" y="326"/>
                    </a:lnTo>
                    <a:lnTo>
                      <a:pt x="0" y="161"/>
                    </a:lnTo>
                    <a:lnTo>
                      <a:pt x="166" y="161"/>
                    </a:lnTo>
                    <a:lnTo>
                      <a:pt x="166"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Freeform 5"/>
              <p:cNvSpPr>
                <a:spLocks/>
              </p:cNvSpPr>
              <p:nvPr/>
            </p:nvSpPr>
            <p:spPr bwMode="auto">
              <a:xfrm>
                <a:off x="299" y="307"/>
                <a:ext cx="108" cy="107"/>
              </a:xfrm>
              <a:custGeom>
                <a:avLst/>
                <a:gdLst>
                  <a:gd name="T0" fmla="*/ 0 w 343"/>
                  <a:gd name="T1" fmla="*/ 0 h 337"/>
                  <a:gd name="T2" fmla="*/ 0 w 343"/>
                  <a:gd name="T3" fmla="*/ 0 h 337"/>
                  <a:gd name="T4" fmla="*/ 0 w 343"/>
                  <a:gd name="T5" fmla="*/ 0 h 337"/>
                  <a:gd name="T6" fmla="*/ 0 w 343"/>
                  <a:gd name="T7" fmla="*/ 0 h 337"/>
                  <a:gd name="T8" fmla="*/ 0 w 343"/>
                  <a:gd name="T9" fmla="*/ 0 h 337"/>
                  <a:gd name="T10" fmla="*/ 0 w 343"/>
                  <a:gd name="T11" fmla="*/ 0 h 337"/>
                  <a:gd name="T12" fmla="*/ 0 w 343"/>
                  <a:gd name="T13" fmla="*/ 0 h 337"/>
                  <a:gd name="T14" fmla="*/ 0 w 343"/>
                  <a:gd name="T15" fmla="*/ 0 h 337"/>
                  <a:gd name="T16" fmla="*/ 0 w 343"/>
                  <a:gd name="T17" fmla="*/ 0 h 337"/>
                  <a:gd name="T18" fmla="*/ 0 w 343"/>
                  <a:gd name="T19" fmla="*/ 0 h 337"/>
                  <a:gd name="T20" fmla="*/ 0 w 343"/>
                  <a:gd name="T21" fmla="*/ 0 h 337"/>
                  <a:gd name="T22" fmla="*/ 0 w 343"/>
                  <a:gd name="T23" fmla="*/ 0 h 337"/>
                  <a:gd name="T24" fmla="*/ 0 w 343"/>
                  <a:gd name="T25" fmla="*/ 0 h 3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3"/>
                  <a:gd name="T40" fmla="*/ 0 h 337"/>
                  <a:gd name="T41" fmla="*/ 343 w 343"/>
                  <a:gd name="T42" fmla="*/ 337 h 3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3" h="337">
                    <a:moveTo>
                      <a:pt x="114" y="0"/>
                    </a:moveTo>
                    <a:lnTo>
                      <a:pt x="229" y="0"/>
                    </a:lnTo>
                    <a:lnTo>
                      <a:pt x="229" y="112"/>
                    </a:lnTo>
                    <a:lnTo>
                      <a:pt x="342" y="112"/>
                    </a:lnTo>
                    <a:lnTo>
                      <a:pt x="342" y="222"/>
                    </a:lnTo>
                    <a:lnTo>
                      <a:pt x="228" y="222"/>
                    </a:lnTo>
                    <a:lnTo>
                      <a:pt x="228" y="336"/>
                    </a:lnTo>
                    <a:lnTo>
                      <a:pt x="114" y="336"/>
                    </a:lnTo>
                    <a:lnTo>
                      <a:pt x="114" y="224"/>
                    </a:lnTo>
                    <a:lnTo>
                      <a:pt x="0" y="224"/>
                    </a:lnTo>
                    <a:lnTo>
                      <a:pt x="0" y="111"/>
                    </a:lnTo>
                    <a:lnTo>
                      <a:pt x="114" y="111"/>
                    </a:lnTo>
                    <a:lnTo>
                      <a:pt x="114" y="0"/>
                    </a:lnTo>
                  </a:path>
                </a:pathLst>
              </a:cu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5" name="Rectangle 6"/>
            <p:cNvSpPr>
              <a:spLocks noChangeArrowheads="1"/>
            </p:cNvSpPr>
            <p:nvPr/>
          </p:nvSpPr>
          <p:spPr bwMode="auto">
            <a:xfrm>
              <a:off x="2332" y="1732"/>
              <a:ext cx="1396" cy="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eaLnBrk="0" hangingPunct="0"/>
              <a:r>
                <a:rPr lang="en-US" altLang="ja-JP" sz="3600">
                  <a:solidFill>
                    <a:schemeClr val="bg1"/>
                  </a:solidFill>
                  <a:cs typeface="Arial" charset="0"/>
                </a:rPr>
                <a:t>Safety First</a:t>
              </a:r>
              <a:endParaRPr lang="ja-JP" altLang="en-US" sz="2400">
                <a:solidFill>
                  <a:srgbClr val="FF0000"/>
                </a:solidFill>
                <a:cs typeface="Arial" charset="0"/>
              </a:endParaRPr>
            </a:p>
          </p:txBody>
        </p:sp>
      </p:grpSp>
    </p:spTree>
    <p:extLst>
      <p:ext uri="{BB962C8B-B14F-4D97-AF65-F5344CB8AC3E}">
        <p14:creationId xmlns:p14="http://schemas.microsoft.com/office/powerpoint/2010/main" val="3881106484"/>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Final Page - Addresses">
    <p:spTree>
      <p:nvGrpSpPr>
        <p:cNvPr id="1" name=""/>
        <p:cNvGrpSpPr/>
        <p:nvPr/>
      </p:nvGrpSpPr>
      <p:grpSpPr>
        <a:xfrm>
          <a:off x="0" y="0"/>
          <a:ext cx="0" cy="0"/>
          <a:chOff x="0" y="0"/>
          <a:chExt cx="0" cy="0"/>
        </a:xfrm>
      </p:grpSpPr>
      <p:sp>
        <p:nvSpPr>
          <p:cNvPr id="341" name="Rechteck 340"/>
          <p:cNvSpPr/>
          <p:nvPr userDrawn="1"/>
        </p:nvSpPr>
        <p:spPr>
          <a:xfrm>
            <a:off x="323528" y="6094054"/>
            <a:ext cx="864096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78" name="Line 13"/>
          <p:cNvSpPr>
            <a:spLocks noChangeShapeType="1"/>
          </p:cNvSpPr>
          <p:nvPr userDrawn="1">
            <p:custDataLst>
              <p:tags r:id="rId1"/>
            </p:custDataLst>
          </p:nvPr>
        </p:nvSpPr>
        <p:spPr bwMode="auto">
          <a:xfrm>
            <a:off x="381578" y="1537742"/>
            <a:ext cx="8507077" cy="0"/>
          </a:xfrm>
          <a:prstGeom prst="line">
            <a:avLst/>
          </a:prstGeom>
          <a:noFill/>
          <a:ln w="38100">
            <a:solidFill>
              <a:schemeClr val="tx1"/>
            </a:solidFill>
            <a:round/>
            <a:headEnd/>
            <a:tailEnd/>
          </a:ln>
          <a:effectLst/>
        </p:spPr>
        <p:txBody>
          <a:bodyPr/>
          <a:lstStyle/>
          <a:p>
            <a:endParaRPr lang="en-US"/>
          </a:p>
        </p:txBody>
      </p:sp>
      <p:sp>
        <p:nvSpPr>
          <p:cNvPr id="379" name="Freeform 1287"/>
          <p:cNvSpPr>
            <a:spLocks/>
          </p:cNvSpPr>
          <p:nvPr userDrawn="1"/>
        </p:nvSpPr>
        <p:spPr bwMode="auto">
          <a:xfrm>
            <a:off x="4479092" y="3741829"/>
            <a:ext cx="80748" cy="185846"/>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0" name="Freeform 1288"/>
          <p:cNvSpPr>
            <a:spLocks/>
          </p:cNvSpPr>
          <p:nvPr userDrawn="1"/>
        </p:nvSpPr>
        <p:spPr bwMode="auto">
          <a:xfrm>
            <a:off x="4825940" y="3893703"/>
            <a:ext cx="225726" cy="241800"/>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1" name="Freeform 1289"/>
          <p:cNvSpPr>
            <a:spLocks/>
          </p:cNvSpPr>
          <p:nvPr userDrawn="1"/>
        </p:nvSpPr>
        <p:spPr bwMode="auto">
          <a:xfrm>
            <a:off x="4600213" y="4095537"/>
            <a:ext cx="216551" cy="361700"/>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2" name="Freeform 1290"/>
          <p:cNvSpPr>
            <a:spLocks/>
          </p:cNvSpPr>
          <p:nvPr userDrawn="1"/>
        </p:nvSpPr>
        <p:spPr bwMode="auto">
          <a:xfrm>
            <a:off x="5066348" y="4219434"/>
            <a:ext cx="132133" cy="129892"/>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3" name="Freeform 1291"/>
          <p:cNvSpPr>
            <a:spLocks/>
          </p:cNvSpPr>
          <p:nvPr userDrawn="1"/>
        </p:nvSpPr>
        <p:spPr bwMode="auto">
          <a:xfrm>
            <a:off x="4159772" y="3747824"/>
            <a:ext cx="407408" cy="451626"/>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4" name="Freeform 1292"/>
          <p:cNvSpPr>
            <a:spLocks/>
          </p:cNvSpPr>
          <p:nvPr userDrawn="1"/>
        </p:nvSpPr>
        <p:spPr bwMode="auto">
          <a:xfrm>
            <a:off x="5174624" y="4339336"/>
            <a:ext cx="29362" cy="41965"/>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5" name="Freeform 1293"/>
          <p:cNvSpPr>
            <a:spLocks/>
          </p:cNvSpPr>
          <p:nvPr userDrawn="1"/>
        </p:nvSpPr>
        <p:spPr bwMode="auto">
          <a:xfrm>
            <a:off x="3990935" y="4003613"/>
            <a:ext cx="242243" cy="291758"/>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6" name="Freeform 1294"/>
          <p:cNvSpPr>
            <a:spLocks/>
          </p:cNvSpPr>
          <p:nvPr userDrawn="1"/>
        </p:nvSpPr>
        <p:spPr bwMode="auto">
          <a:xfrm>
            <a:off x="4071682" y="3781797"/>
            <a:ext cx="240408" cy="209827"/>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7" name="Freeform 1295"/>
          <p:cNvSpPr>
            <a:spLocks/>
          </p:cNvSpPr>
          <p:nvPr userDrawn="1"/>
        </p:nvSpPr>
        <p:spPr bwMode="auto">
          <a:xfrm>
            <a:off x="5158107" y="4359318"/>
            <a:ext cx="205540" cy="295756"/>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8" name="Freeform 1296"/>
          <p:cNvSpPr>
            <a:spLocks/>
          </p:cNvSpPr>
          <p:nvPr userDrawn="1"/>
        </p:nvSpPr>
        <p:spPr bwMode="auto">
          <a:xfrm>
            <a:off x="4772721" y="4103531"/>
            <a:ext cx="332167" cy="437637"/>
          </a:xfrm>
          <a:custGeom>
            <a:avLst/>
            <a:gdLst/>
            <a:ahLst/>
            <a:cxnLst>
              <a:cxn ang="0">
                <a:pos x="118" y="375"/>
              </a:cxn>
              <a:cxn ang="0">
                <a:pos x="72" y="426"/>
              </a:cxn>
              <a:cxn ang="0">
                <a:pos x="55" y="449"/>
              </a:cxn>
              <a:cxn ang="0">
                <a:pos x="23" y="508"/>
              </a:cxn>
              <a:cxn ang="0">
                <a:pos x="14" y="527"/>
              </a:cxn>
              <a:cxn ang="0">
                <a:pos x="7" y="564"/>
              </a:cxn>
              <a:cxn ang="0">
                <a:pos x="3" y="596"/>
              </a:cxn>
              <a:cxn ang="0">
                <a:pos x="28" y="623"/>
              </a:cxn>
              <a:cxn ang="0">
                <a:pos x="51" y="667"/>
              </a:cxn>
              <a:cxn ang="0">
                <a:pos x="55" y="703"/>
              </a:cxn>
              <a:cxn ang="0">
                <a:pos x="88" y="777"/>
              </a:cxn>
              <a:cxn ang="0">
                <a:pos x="109" y="817"/>
              </a:cxn>
              <a:cxn ang="0">
                <a:pos x="161" y="840"/>
              </a:cxn>
              <a:cxn ang="0">
                <a:pos x="179" y="869"/>
              </a:cxn>
              <a:cxn ang="0">
                <a:pos x="229" y="914"/>
              </a:cxn>
              <a:cxn ang="0">
                <a:pos x="256" y="950"/>
              </a:cxn>
              <a:cxn ang="0">
                <a:pos x="303" y="993"/>
              </a:cxn>
              <a:cxn ang="0">
                <a:pos x="329" y="1031"/>
              </a:cxn>
              <a:cxn ang="0">
                <a:pos x="369" y="1055"/>
              </a:cxn>
              <a:cxn ang="0">
                <a:pos x="426" y="1042"/>
              </a:cxn>
              <a:cxn ang="0">
                <a:pos x="484" y="1091"/>
              </a:cxn>
              <a:cxn ang="0">
                <a:pos x="517" y="1090"/>
              </a:cxn>
              <a:cxn ang="0">
                <a:pos x="556" y="1097"/>
              </a:cxn>
              <a:cxn ang="0">
                <a:pos x="616" y="1089"/>
              </a:cxn>
              <a:cxn ang="0">
                <a:pos x="662" y="1071"/>
              </a:cxn>
              <a:cxn ang="0">
                <a:pos x="731" y="1046"/>
              </a:cxn>
              <a:cxn ang="0">
                <a:pos x="767" y="1011"/>
              </a:cxn>
              <a:cxn ang="0">
                <a:pos x="727" y="988"/>
              </a:cxn>
              <a:cxn ang="0">
                <a:pos x="702" y="930"/>
              </a:cxn>
              <a:cxn ang="0">
                <a:pos x="665" y="891"/>
              </a:cxn>
              <a:cxn ang="0">
                <a:pos x="629" y="874"/>
              </a:cxn>
              <a:cxn ang="0">
                <a:pos x="614" y="855"/>
              </a:cxn>
              <a:cxn ang="0">
                <a:pos x="652" y="834"/>
              </a:cxn>
              <a:cxn ang="0">
                <a:pos x="672" y="763"/>
              </a:cxn>
              <a:cxn ang="0">
                <a:pos x="676" y="719"/>
              </a:cxn>
              <a:cxn ang="0">
                <a:pos x="697" y="697"/>
              </a:cxn>
              <a:cxn ang="0">
                <a:pos x="723" y="651"/>
              </a:cxn>
              <a:cxn ang="0">
                <a:pos x="783" y="582"/>
              </a:cxn>
              <a:cxn ang="0">
                <a:pos x="798" y="473"/>
              </a:cxn>
              <a:cxn ang="0">
                <a:pos x="821" y="387"/>
              </a:cxn>
              <a:cxn ang="0">
                <a:pos x="842" y="348"/>
              </a:cxn>
              <a:cxn ang="0">
                <a:pos x="885" y="323"/>
              </a:cxn>
              <a:cxn ang="0">
                <a:pos x="904" y="284"/>
              </a:cxn>
              <a:cxn ang="0">
                <a:pos x="887" y="270"/>
              </a:cxn>
              <a:cxn ang="0">
                <a:pos x="852" y="252"/>
              </a:cxn>
              <a:cxn ang="0">
                <a:pos x="837" y="157"/>
              </a:cxn>
              <a:cxn ang="0">
                <a:pos x="821" y="94"/>
              </a:cxn>
              <a:cxn ang="0">
                <a:pos x="798" y="44"/>
              </a:cxn>
              <a:cxn ang="0">
                <a:pos x="749" y="0"/>
              </a:cxn>
              <a:cxn ang="0">
                <a:pos x="672" y="53"/>
              </a:cxn>
              <a:cxn ang="0">
                <a:pos x="522" y="65"/>
              </a:cxn>
              <a:cxn ang="0">
                <a:pos x="519" y="53"/>
              </a:cxn>
              <a:cxn ang="0">
                <a:pos x="379" y="65"/>
              </a:cxn>
              <a:cxn ang="0">
                <a:pos x="170" y="65"/>
              </a:cxn>
              <a:cxn ang="0">
                <a:pos x="118" y="210"/>
              </a:cxn>
            </a:cxnLst>
            <a:rect l="0" t="0" r="r" b="b"/>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9" name="Freeform 1297"/>
          <p:cNvSpPr>
            <a:spLocks/>
          </p:cNvSpPr>
          <p:nvPr userDrawn="1"/>
        </p:nvSpPr>
        <p:spPr bwMode="auto">
          <a:xfrm>
            <a:off x="4334113" y="4091540"/>
            <a:ext cx="319321" cy="271776"/>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0" name="Freeform 1298"/>
          <p:cNvSpPr>
            <a:spLocks/>
          </p:cNvSpPr>
          <p:nvPr userDrawn="1"/>
        </p:nvSpPr>
        <p:spPr bwMode="auto">
          <a:xfrm>
            <a:off x="4996612" y="4293374"/>
            <a:ext cx="302804" cy="249793"/>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1" name="Freeform 1299"/>
          <p:cNvSpPr>
            <a:spLocks/>
          </p:cNvSpPr>
          <p:nvPr userDrawn="1"/>
        </p:nvSpPr>
        <p:spPr bwMode="auto">
          <a:xfrm>
            <a:off x="4515796" y="3853736"/>
            <a:ext cx="319321" cy="333724"/>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2" name="Freeform 1300"/>
          <p:cNvSpPr>
            <a:spLocks/>
          </p:cNvSpPr>
          <p:nvPr userDrawn="1"/>
        </p:nvSpPr>
        <p:spPr bwMode="auto">
          <a:xfrm>
            <a:off x="4088200" y="4057569"/>
            <a:ext cx="326661" cy="339719"/>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3" name="Freeform 1301"/>
          <p:cNvSpPr>
            <a:spLocks/>
          </p:cNvSpPr>
          <p:nvPr userDrawn="1"/>
        </p:nvSpPr>
        <p:spPr bwMode="auto">
          <a:xfrm>
            <a:off x="3990935" y="3991623"/>
            <a:ext cx="168836" cy="159868"/>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4" name="Freeform 1302"/>
          <p:cNvSpPr>
            <a:spLocks/>
          </p:cNvSpPr>
          <p:nvPr userDrawn="1"/>
        </p:nvSpPr>
        <p:spPr bwMode="auto">
          <a:xfrm>
            <a:off x="4952567" y="5200623"/>
            <a:ext cx="23858" cy="35970"/>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5" name="Freeform 1303"/>
          <p:cNvSpPr>
            <a:spLocks/>
          </p:cNvSpPr>
          <p:nvPr userDrawn="1"/>
        </p:nvSpPr>
        <p:spPr bwMode="auto">
          <a:xfrm>
            <a:off x="4662609" y="5112697"/>
            <a:ext cx="330332" cy="315739"/>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6" name="Freeform 1304"/>
          <p:cNvSpPr>
            <a:spLocks/>
          </p:cNvSpPr>
          <p:nvPr userDrawn="1"/>
        </p:nvSpPr>
        <p:spPr bwMode="auto">
          <a:xfrm>
            <a:off x="4991106" y="4824933"/>
            <a:ext cx="64231" cy="173856"/>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7" name="Freeform 1305"/>
          <p:cNvSpPr>
            <a:spLocks/>
          </p:cNvSpPr>
          <p:nvPr userDrawn="1"/>
        </p:nvSpPr>
        <p:spPr bwMode="auto">
          <a:xfrm>
            <a:off x="5200316" y="4886883"/>
            <a:ext cx="143143" cy="311743"/>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8" name="Freeform 1307"/>
          <p:cNvSpPr>
            <a:spLocks/>
          </p:cNvSpPr>
          <p:nvPr userDrawn="1"/>
        </p:nvSpPr>
        <p:spPr bwMode="auto">
          <a:xfrm>
            <a:off x="4565344" y="4746997"/>
            <a:ext cx="253254" cy="27177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9" name="Freeform 1308"/>
          <p:cNvSpPr>
            <a:spLocks/>
          </p:cNvSpPr>
          <p:nvPr userDrawn="1"/>
        </p:nvSpPr>
        <p:spPr bwMode="auto">
          <a:xfrm>
            <a:off x="4572686" y="4717022"/>
            <a:ext cx="20187" cy="31974"/>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0" name="Freeform 1309"/>
          <p:cNvSpPr>
            <a:spLocks/>
          </p:cNvSpPr>
          <p:nvPr userDrawn="1"/>
        </p:nvSpPr>
        <p:spPr bwMode="auto">
          <a:xfrm>
            <a:off x="4877325" y="5268567"/>
            <a:ext cx="45879" cy="51957"/>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1" name="Freeform 1310"/>
          <p:cNvSpPr>
            <a:spLocks/>
          </p:cNvSpPr>
          <p:nvPr userDrawn="1"/>
        </p:nvSpPr>
        <p:spPr bwMode="auto">
          <a:xfrm>
            <a:off x="4774555" y="4798956"/>
            <a:ext cx="234903" cy="219819"/>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2" name="Freeform 1311"/>
          <p:cNvSpPr>
            <a:spLocks/>
          </p:cNvSpPr>
          <p:nvPr userDrawn="1"/>
        </p:nvSpPr>
        <p:spPr bwMode="auto">
          <a:xfrm>
            <a:off x="4838786" y="4964818"/>
            <a:ext cx="155990" cy="161866"/>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3" name="Freeform 1312"/>
          <p:cNvSpPr>
            <a:spLocks/>
          </p:cNvSpPr>
          <p:nvPr userDrawn="1"/>
        </p:nvSpPr>
        <p:spPr bwMode="auto">
          <a:xfrm>
            <a:off x="4565345" y="4992795"/>
            <a:ext cx="269771" cy="289761"/>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4" name="Freeform 1313"/>
          <p:cNvSpPr>
            <a:spLocks/>
          </p:cNvSpPr>
          <p:nvPr userDrawn="1"/>
        </p:nvSpPr>
        <p:spPr bwMode="auto">
          <a:xfrm>
            <a:off x="4936051" y="4850912"/>
            <a:ext cx="214716" cy="373691"/>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5" name="Freeform 1314"/>
          <p:cNvSpPr>
            <a:spLocks/>
          </p:cNvSpPr>
          <p:nvPr userDrawn="1"/>
        </p:nvSpPr>
        <p:spPr bwMode="auto">
          <a:xfrm>
            <a:off x="4730511" y="5012779"/>
            <a:ext cx="190858" cy="21382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6" name="Freeform 1315"/>
          <p:cNvSpPr>
            <a:spLocks/>
          </p:cNvSpPr>
          <p:nvPr userDrawn="1"/>
        </p:nvSpPr>
        <p:spPr bwMode="auto">
          <a:xfrm>
            <a:off x="4029473" y="4341334"/>
            <a:ext cx="148649" cy="121899"/>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7" name="Freeform 1316"/>
          <p:cNvSpPr>
            <a:spLocks/>
          </p:cNvSpPr>
          <p:nvPr userDrawn="1"/>
        </p:nvSpPr>
        <p:spPr bwMode="auto">
          <a:xfrm>
            <a:off x="4622235" y="4377305"/>
            <a:ext cx="264265" cy="181849"/>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8" name="Freeform 1317"/>
          <p:cNvSpPr>
            <a:spLocks/>
          </p:cNvSpPr>
          <p:nvPr userDrawn="1"/>
        </p:nvSpPr>
        <p:spPr bwMode="auto">
          <a:xfrm>
            <a:off x="4508455" y="4569145"/>
            <a:ext cx="111946" cy="137886"/>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9" name="Freeform 1318"/>
          <p:cNvSpPr>
            <a:spLocks/>
          </p:cNvSpPr>
          <p:nvPr userDrawn="1"/>
        </p:nvSpPr>
        <p:spPr bwMode="auto">
          <a:xfrm>
            <a:off x="3992770" y="4315356"/>
            <a:ext cx="62396" cy="17985"/>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0" name="Freeform 1319"/>
          <p:cNvSpPr>
            <a:spLocks/>
          </p:cNvSpPr>
          <p:nvPr userDrawn="1"/>
        </p:nvSpPr>
        <p:spPr bwMode="auto">
          <a:xfrm>
            <a:off x="3994605" y="4341334"/>
            <a:ext cx="64231" cy="37969"/>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1" name="Freeform 1320"/>
          <p:cNvSpPr>
            <a:spLocks/>
          </p:cNvSpPr>
          <p:nvPr userDrawn="1"/>
        </p:nvSpPr>
        <p:spPr bwMode="auto">
          <a:xfrm>
            <a:off x="4101046" y="4433258"/>
            <a:ext cx="82583" cy="91924"/>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2" name="Freeform 1321"/>
          <p:cNvSpPr>
            <a:spLocks/>
          </p:cNvSpPr>
          <p:nvPr userDrawn="1"/>
        </p:nvSpPr>
        <p:spPr bwMode="auto">
          <a:xfrm>
            <a:off x="4268047" y="4375306"/>
            <a:ext cx="89923" cy="143881"/>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3" name="Freeform 1322"/>
          <p:cNvSpPr>
            <a:spLocks/>
          </p:cNvSpPr>
          <p:nvPr userDrawn="1"/>
        </p:nvSpPr>
        <p:spPr bwMode="auto">
          <a:xfrm>
            <a:off x="4385497" y="4315356"/>
            <a:ext cx="236738" cy="21382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4" name="Freeform 1323"/>
          <p:cNvSpPr>
            <a:spLocks/>
          </p:cNvSpPr>
          <p:nvPr userDrawn="1"/>
        </p:nvSpPr>
        <p:spPr bwMode="auto">
          <a:xfrm>
            <a:off x="4554335" y="4539171"/>
            <a:ext cx="154155" cy="191841"/>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5" name="Freeform 1324"/>
          <p:cNvSpPr>
            <a:spLocks/>
          </p:cNvSpPr>
          <p:nvPr userDrawn="1"/>
        </p:nvSpPr>
        <p:spPr bwMode="auto">
          <a:xfrm>
            <a:off x="4519466" y="4571143"/>
            <a:ext cx="38538" cy="27976"/>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6" name="Freeform 1325"/>
          <p:cNvSpPr>
            <a:spLocks/>
          </p:cNvSpPr>
          <p:nvPr userDrawn="1"/>
        </p:nvSpPr>
        <p:spPr bwMode="auto">
          <a:xfrm>
            <a:off x="4919534" y="4671061"/>
            <a:ext cx="33032" cy="43964"/>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7" name="Freeform 1326"/>
          <p:cNvSpPr>
            <a:spLocks/>
          </p:cNvSpPr>
          <p:nvPr userDrawn="1"/>
        </p:nvSpPr>
        <p:spPr bwMode="auto">
          <a:xfrm>
            <a:off x="4930545" y="4529178"/>
            <a:ext cx="106440" cy="121899"/>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8" name="Freeform 1327"/>
          <p:cNvSpPr>
            <a:spLocks/>
          </p:cNvSpPr>
          <p:nvPr userDrawn="1"/>
        </p:nvSpPr>
        <p:spPr bwMode="auto">
          <a:xfrm>
            <a:off x="4227672" y="4289376"/>
            <a:ext cx="152320" cy="123898"/>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9" name="Freeform 1328"/>
          <p:cNvSpPr>
            <a:spLocks/>
          </p:cNvSpPr>
          <p:nvPr userDrawn="1"/>
        </p:nvSpPr>
        <p:spPr bwMode="auto">
          <a:xfrm>
            <a:off x="4915864" y="4643085"/>
            <a:ext cx="38538" cy="37969"/>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0" name="Freeform 1329"/>
          <p:cNvSpPr>
            <a:spLocks/>
          </p:cNvSpPr>
          <p:nvPr userDrawn="1"/>
        </p:nvSpPr>
        <p:spPr bwMode="auto">
          <a:xfrm>
            <a:off x="5014964" y="4519186"/>
            <a:ext cx="159660" cy="201834"/>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1" name="Freeform 1330"/>
          <p:cNvSpPr>
            <a:spLocks/>
          </p:cNvSpPr>
          <p:nvPr userDrawn="1"/>
        </p:nvSpPr>
        <p:spPr bwMode="auto">
          <a:xfrm>
            <a:off x="3979924" y="4251407"/>
            <a:ext cx="124793" cy="9791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2" name="Freeform 1331"/>
          <p:cNvSpPr>
            <a:spLocks/>
          </p:cNvSpPr>
          <p:nvPr userDrawn="1"/>
        </p:nvSpPr>
        <p:spPr bwMode="auto">
          <a:xfrm>
            <a:off x="4928710" y="4641087"/>
            <a:ext cx="220221" cy="23580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3" name="Freeform 1332"/>
          <p:cNvSpPr>
            <a:spLocks/>
          </p:cNvSpPr>
          <p:nvPr userDrawn="1"/>
        </p:nvSpPr>
        <p:spPr bwMode="auto">
          <a:xfrm>
            <a:off x="4064342" y="4401283"/>
            <a:ext cx="60560" cy="65946"/>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4" name="Freeform 1333"/>
          <p:cNvSpPr>
            <a:spLocks/>
          </p:cNvSpPr>
          <p:nvPr userDrawn="1"/>
        </p:nvSpPr>
        <p:spPr bwMode="auto">
          <a:xfrm>
            <a:off x="4159772" y="4385298"/>
            <a:ext cx="122957" cy="139884"/>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5" name="Freeform 1334"/>
          <p:cNvSpPr>
            <a:spLocks/>
          </p:cNvSpPr>
          <p:nvPr userDrawn="1"/>
        </p:nvSpPr>
        <p:spPr bwMode="auto">
          <a:xfrm>
            <a:off x="4328607" y="4375305"/>
            <a:ext cx="44044" cy="113906"/>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6" name="Freeform 1335"/>
          <p:cNvSpPr>
            <a:spLocks/>
          </p:cNvSpPr>
          <p:nvPr userDrawn="1"/>
        </p:nvSpPr>
        <p:spPr bwMode="auto">
          <a:xfrm>
            <a:off x="4501114" y="4339336"/>
            <a:ext cx="154155" cy="245797"/>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7" name="Freeform 1336"/>
          <p:cNvSpPr>
            <a:spLocks/>
          </p:cNvSpPr>
          <p:nvPr userDrawn="1"/>
        </p:nvSpPr>
        <p:spPr bwMode="auto">
          <a:xfrm>
            <a:off x="4346959" y="4347328"/>
            <a:ext cx="60560" cy="135888"/>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8" name="Freeform 1337"/>
          <p:cNvSpPr>
            <a:spLocks/>
          </p:cNvSpPr>
          <p:nvPr userDrawn="1"/>
        </p:nvSpPr>
        <p:spPr bwMode="auto">
          <a:xfrm>
            <a:off x="4578191" y="4505199"/>
            <a:ext cx="383551" cy="407663"/>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9" name="Freeform 1339"/>
          <p:cNvSpPr>
            <a:spLocks/>
          </p:cNvSpPr>
          <p:nvPr userDrawn="1"/>
        </p:nvSpPr>
        <p:spPr bwMode="auto">
          <a:xfrm>
            <a:off x="2852320" y="5953839"/>
            <a:ext cx="42160" cy="53970"/>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0" name="Freeform 1340"/>
          <p:cNvSpPr>
            <a:spLocks/>
          </p:cNvSpPr>
          <p:nvPr userDrawn="1"/>
        </p:nvSpPr>
        <p:spPr bwMode="auto">
          <a:xfrm>
            <a:off x="2857819" y="4352735"/>
            <a:ext cx="271290" cy="251859"/>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1" name="Freeform 1341"/>
          <p:cNvSpPr>
            <a:spLocks/>
          </p:cNvSpPr>
          <p:nvPr userDrawn="1"/>
        </p:nvSpPr>
        <p:spPr bwMode="auto">
          <a:xfrm>
            <a:off x="2705677" y="4592600"/>
            <a:ext cx="113648" cy="137922"/>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2" name="Freeform 1342"/>
          <p:cNvSpPr>
            <a:spLocks/>
          </p:cNvSpPr>
          <p:nvPr userDrawn="1"/>
        </p:nvSpPr>
        <p:spPr bwMode="auto">
          <a:xfrm>
            <a:off x="3070451" y="5048346"/>
            <a:ext cx="168640" cy="195891"/>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3" name="Freeform 1343"/>
          <p:cNvSpPr>
            <a:spLocks/>
          </p:cNvSpPr>
          <p:nvPr userDrawn="1"/>
        </p:nvSpPr>
        <p:spPr bwMode="auto">
          <a:xfrm>
            <a:off x="2811993" y="5008368"/>
            <a:ext cx="170473" cy="1011435"/>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4" name="Freeform 1344"/>
          <p:cNvSpPr>
            <a:spLocks/>
          </p:cNvSpPr>
          <p:nvPr userDrawn="1"/>
        </p:nvSpPr>
        <p:spPr bwMode="auto">
          <a:xfrm>
            <a:off x="2896312" y="5969830"/>
            <a:ext cx="56825" cy="939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5" name="Freeform 1345"/>
          <p:cNvSpPr>
            <a:spLocks/>
          </p:cNvSpPr>
          <p:nvPr userDrawn="1"/>
        </p:nvSpPr>
        <p:spPr bwMode="auto">
          <a:xfrm>
            <a:off x="3319744" y="4610589"/>
            <a:ext cx="10998" cy="9994"/>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6" name="Freeform 1346"/>
          <p:cNvSpPr>
            <a:spLocks/>
          </p:cNvSpPr>
          <p:nvPr userDrawn="1"/>
        </p:nvSpPr>
        <p:spPr bwMode="auto">
          <a:xfrm>
            <a:off x="3332576" y="4620584"/>
            <a:ext cx="7332" cy="3998"/>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7" name="Freeform 1347"/>
          <p:cNvSpPr>
            <a:spLocks/>
          </p:cNvSpPr>
          <p:nvPr userDrawn="1"/>
        </p:nvSpPr>
        <p:spPr bwMode="auto">
          <a:xfrm>
            <a:off x="3316078" y="4624583"/>
            <a:ext cx="42160" cy="33981"/>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8" name="Freeform 1348"/>
          <p:cNvSpPr>
            <a:spLocks/>
          </p:cNvSpPr>
          <p:nvPr userDrawn="1"/>
        </p:nvSpPr>
        <p:spPr bwMode="auto">
          <a:xfrm>
            <a:off x="3303248" y="4620585"/>
            <a:ext cx="12832" cy="15991"/>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9" name="Freeform 1349"/>
          <p:cNvSpPr>
            <a:spLocks/>
          </p:cNvSpPr>
          <p:nvPr userDrawn="1"/>
        </p:nvSpPr>
        <p:spPr bwMode="auto">
          <a:xfrm>
            <a:off x="3325244" y="4610590"/>
            <a:ext cx="1833" cy="1999"/>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0" name="Freeform 1350"/>
          <p:cNvSpPr>
            <a:spLocks/>
          </p:cNvSpPr>
          <p:nvPr userDrawn="1"/>
        </p:nvSpPr>
        <p:spPr bwMode="auto">
          <a:xfrm>
            <a:off x="3317912" y="4620585"/>
            <a:ext cx="3666" cy="1999"/>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1" name="Freeform 1351"/>
          <p:cNvSpPr>
            <a:spLocks/>
          </p:cNvSpPr>
          <p:nvPr userDrawn="1"/>
        </p:nvSpPr>
        <p:spPr bwMode="auto">
          <a:xfrm>
            <a:off x="2846822" y="4506647"/>
            <a:ext cx="782707" cy="895500"/>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2" name="Freeform 1352"/>
          <p:cNvSpPr>
            <a:spLocks/>
          </p:cNvSpPr>
          <p:nvPr userDrawn="1"/>
        </p:nvSpPr>
        <p:spPr bwMode="auto">
          <a:xfrm>
            <a:off x="2744170" y="4346738"/>
            <a:ext cx="241962" cy="363797"/>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3" name="Freeform 1353"/>
          <p:cNvSpPr>
            <a:spLocks/>
          </p:cNvSpPr>
          <p:nvPr userDrawn="1"/>
        </p:nvSpPr>
        <p:spPr bwMode="auto">
          <a:xfrm>
            <a:off x="2929307" y="4830467"/>
            <a:ext cx="241962" cy="30183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4" name="Freeform 1354"/>
          <p:cNvSpPr>
            <a:spLocks/>
          </p:cNvSpPr>
          <p:nvPr userDrawn="1"/>
        </p:nvSpPr>
        <p:spPr bwMode="auto">
          <a:xfrm>
            <a:off x="3154771" y="5308201"/>
            <a:ext cx="108150" cy="125929"/>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5" name="Freeform 1355"/>
          <p:cNvSpPr>
            <a:spLocks/>
          </p:cNvSpPr>
          <p:nvPr userDrawn="1"/>
        </p:nvSpPr>
        <p:spPr bwMode="auto">
          <a:xfrm>
            <a:off x="3099781" y="4438685"/>
            <a:ext cx="97151" cy="153914"/>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6" name="Freeform 1356"/>
          <p:cNvSpPr>
            <a:spLocks/>
          </p:cNvSpPr>
          <p:nvPr userDrawn="1"/>
        </p:nvSpPr>
        <p:spPr bwMode="auto">
          <a:xfrm>
            <a:off x="3237257" y="4496653"/>
            <a:ext cx="58657" cy="79956"/>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7" name="Freeform 1357"/>
          <p:cNvSpPr>
            <a:spLocks/>
          </p:cNvSpPr>
          <p:nvPr userDrawn="1"/>
        </p:nvSpPr>
        <p:spPr bwMode="auto">
          <a:xfrm>
            <a:off x="2696512" y="4622583"/>
            <a:ext cx="251126" cy="401775"/>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8" name="Freeform 1358"/>
          <p:cNvSpPr>
            <a:spLocks/>
          </p:cNvSpPr>
          <p:nvPr userDrawn="1"/>
        </p:nvSpPr>
        <p:spPr bwMode="auto">
          <a:xfrm>
            <a:off x="2855986" y="5106313"/>
            <a:ext cx="395936" cy="857521"/>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9" name="Freeform 1359"/>
          <p:cNvSpPr>
            <a:spLocks/>
          </p:cNvSpPr>
          <p:nvPr userDrawn="1"/>
        </p:nvSpPr>
        <p:spPr bwMode="auto">
          <a:xfrm>
            <a:off x="2951303" y="5975828"/>
            <a:ext cx="69655" cy="89949"/>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0" name="Freeform 1360"/>
          <p:cNvSpPr>
            <a:spLocks/>
          </p:cNvSpPr>
          <p:nvPr userDrawn="1"/>
        </p:nvSpPr>
        <p:spPr bwMode="auto">
          <a:xfrm>
            <a:off x="3163936" y="4490657"/>
            <a:ext cx="82487" cy="89949"/>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1" name="Freeform 1363"/>
          <p:cNvSpPr>
            <a:spLocks/>
          </p:cNvSpPr>
          <p:nvPr userDrawn="1"/>
        </p:nvSpPr>
        <p:spPr bwMode="auto">
          <a:xfrm>
            <a:off x="2569764" y="4289575"/>
            <a:ext cx="86214" cy="93961"/>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2" name="Freeform 1364"/>
          <p:cNvSpPr>
            <a:spLocks/>
          </p:cNvSpPr>
          <p:nvPr userDrawn="1"/>
        </p:nvSpPr>
        <p:spPr bwMode="auto">
          <a:xfrm>
            <a:off x="2661481" y="4409524"/>
            <a:ext cx="117399" cy="53978"/>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3" name="Freeform 1365"/>
          <p:cNvSpPr>
            <a:spLocks/>
          </p:cNvSpPr>
          <p:nvPr userDrawn="1"/>
        </p:nvSpPr>
        <p:spPr bwMode="auto">
          <a:xfrm>
            <a:off x="2476211" y="4225602"/>
            <a:ext cx="78878" cy="93961"/>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4" name="Freeform 1366"/>
          <p:cNvSpPr>
            <a:spLocks/>
          </p:cNvSpPr>
          <p:nvPr userDrawn="1"/>
        </p:nvSpPr>
        <p:spPr bwMode="auto">
          <a:xfrm>
            <a:off x="2536745" y="4211607"/>
            <a:ext cx="22013" cy="57975"/>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5" name="Freeform 1367"/>
          <p:cNvSpPr>
            <a:spLocks/>
          </p:cNvSpPr>
          <p:nvPr userDrawn="1"/>
        </p:nvSpPr>
        <p:spPr bwMode="auto">
          <a:xfrm>
            <a:off x="2520236" y="4303568"/>
            <a:ext cx="45859" cy="27988"/>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6" name="Freeform 1368"/>
          <p:cNvSpPr>
            <a:spLocks/>
          </p:cNvSpPr>
          <p:nvPr userDrawn="1"/>
        </p:nvSpPr>
        <p:spPr bwMode="auto">
          <a:xfrm>
            <a:off x="2604616" y="4375539"/>
            <a:ext cx="66038" cy="63973"/>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7" name="Freeform 1369"/>
          <p:cNvSpPr>
            <a:spLocks/>
          </p:cNvSpPr>
          <p:nvPr userDrawn="1"/>
        </p:nvSpPr>
        <p:spPr bwMode="auto">
          <a:xfrm>
            <a:off x="2533076" y="4267582"/>
            <a:ext cx="122902" cy="67972"/>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8" name="Freeform 1371"/>
          <p:cNvSpPr>
            <a:spLocks/>
          </p:cNvSpPr>
          <p:nvPr userDrawn="1"/>
        </p:nvSpPr>
        <p:spPr bwMode="auto">
          <a:xfrm>
            <a:off x="2887108" y="4177620"/>
            <a:ext cx="69705" cy="51978"/>
          </a:xfrm>
          <a:custGeom>
            <a:avLst/>
            <a:gdLst/>
            <a:ahLst/>
            <a:cxnLst>
              <a:cxn ang="0">
                <a:pos x="5" y="2"/>
              </a:cxn>
              <a:cxn ang="0">
                <a:pos x="20" y="0"/>
              </a:cxn>
              <a:cxn ang="0">
                <a:pos x="60" y="1"/>
              </a:cxn>
              <a:cxn ang="0">
                <a:pos x="89" y="13"/>
              </a:cxn>
              <a:cxn ang="0">
                <a:pos x="108" y="20"/>
              </a:cxn>
              <a:cxn ang="0">
                <a:pos x="113" y="32"/>
              </a:cxn>
              <a:cxn ang="0">
                <a:pos x="141" y="33"/>
              </a:cxn>
              <a:cxn ang="0">
                <a:pos x="145" y="39"/>
              </a:cxn>
              <a:cxn ang="0">
                <a:pos x="127" y="43"/>
              </a:cxn>
              <a:cxn ang="0">
                <a:pos x="140" y="52"/>
              </a:cxn>
              <a:cxn ang="0">
                <a:pos x="172" y="59"/>
              </a:cxn>
              <a:cxn ang="0">
                <a:pos x="189" y="70"/>
              </a:cxn>
              <a:cxn ang="0">
                <a:pos x="189" y="81"/>
              </a:cxn>
              <a:cxn ang="0">
                <a:pos x="176" y="96"/>
              </a:cxn>
              <a:cxn ang="0">
                <a:pos x="164" y="91"/>
              </a:cxn>
              <a:cxn ang="0">
                <a:pos x="124" y="85"/>
              </a:cxn>
              <a:cxn ang="0">
                <a:pos x="97" y="91"/>
              </a:cxn>
              <a:cxn ang="0">
                <a:pos x="92" y="97"/>
              </a:cxn>
              <a:cxn ang="0">
                <a:pos x="71" y="103"/>
              </a:cxn>
              <a:cxn ang="0">
                <a:pos x="65" y="88"/>
              </a:cxn>
              <a:cxn ang="0">
                <a:pos x="51" y="91"/>
              </a:cxn>
              <a:cxn ang="0">
                <a:pos x="41" y="102"/>
              </a:cxn>
              <a:cxn ang="0">
                <a:pos x="30" y="118"/>
              </a:cxn>
              <a:cxn ang="0">
                <a:pos x="19" y="130"/>
              </a:cxn>
              <a:cxn ang="0">
                <a:pos x="16" y="128"/>
              </a:cxn>
              <a:cxn ang="0">
                <a:pos x="7" y="122"/>
              </a:cxn>
              <a:cxn ang="0">
                <a:pos x="5" y="108"/>
              </a:cxn>
              <a:cxn ang="0">
                <a:pos x="7" y="92"/>
              </a:cxn>
              <a:cxn ang="0">
                <a:pos x="0" y="80"/>
              </a:cxn>
              <a:cxn ang="0">
                <a:pos x="2" y="72"/>
              </a:cxn>
              <a:cxn ang="0">
                <a:pos x="8" y="50"/>
              </a:cxn>
              <a:cxn ang="0">
                <a:pos x="13" y="40"/>
              </a:cxn>
              <a:cxn ang="0">
                <a:pos x="11" y="22"/>
              </a:cxn>
              <a:cxn ang="0">
                <a:pos x="2" y="6"/>
              </a:cxn>
            </a:cxnLst>
            <a:rect l="0" t="0" r="r" b="b"/>
            <a:pathLst>
              <a:path w="189" h="130">
                <a:moveTo>
                  <a:pt x="3" y="5"/>
                </a:moveTo>
                <a:lnTo>
                  <a:pt x="5" y="2"/>
                </a:lnTo>
                <a:lnTo>
                  <a:pt x="9" y="0"/>
                </a:lnTo>
                <a:lnTo>
                  <a:pt x="20" y="0"/>
                </a:lnTo>
                <a:lnTo>
                  <a:pt x="33" y="1"/>
                </a:lnTo>
                <a:lnTo>
                  <a:pt x="60" y="1"/>
                </a:lnTo>
                <a:lnTo>
                  <a:pt x="75" y="5"/>
                </a:lnTo>
                <a:lnTo>
                  <a:pt x="89" y="13"/>
                </a:lnTo>
                <a:lnTo>
                  <a:pt x="103" y="15"/>
                </a:lnTo>
                <a:lnTo>
                  <a:pt x="108" y="20"/>
                </a:lnTo>
                <a:lnTo>
                  <a:pt x="110" y="29"/>
                </a:lnTo>
                <a:lnTo>
                  <a:pt x="113" y="32"/>
                </a:lnTo>
                <a:lnTo>
                  <a:pt x="122" y="33"/>
                </a:lnTo>
                <a:lnTo>
                  <a:pt x="141" y="33"/>
                </a:lnTo>
                <a:lnTo>
                  <a:pt x="143" y="36"/>
                </a:lnTo>
                <a:lnTo>
                  <a:pt x="145" y="39"/>
                </a:lnTo>
                <a:lnTo>
                  <a:pt x="136" y="43"/>
                </a:lnTo>
                <a:lnTo>
                  <a:pt x="127" y="43"/>
                </a:lnTo>
                <a:lnTo>
                  <a:pt x="126" y="47"/>
                </a:lnTo>
                <a:lnTo>
                  <a:pt x="140" y="52"/>
                </a:lnTo>
                <a:lnTo>
                  <a:pt x="165" y="52"/>
                </a:lnTo>
                <a:lnTo>
                  <a:pt x="172" y="59"/>
                </a:lnTo>
                <a:lnTo>
                  <a:pt x="181" y="68"/>
                </a:lnTo>
                <a:lnTo>
                  <a:pt x="189" y="70"/>
                </a:lnTo>
                <a:lnTo>
                  <a:pt x="189" y="72"/>
                </a:lnTo>
                <a:lnTo>
                  <a:pt x="189" y="81"/>
                </a:lnTo>
                <a:lnTo>
                  <a:pt x="185" y="88"/>
                </a:lnTo>
                <a:lnTo>
                  <a:pt x="176" y="96"/>
                </a:lnTo>
                <a:lnTo>
                  <a:pt x="169" y="96"/>
                </a:lnTo>
                <a:lnTo>
                  <a:pt x="164" y="91"/>
                </a:lnTo>
                <a:lnTo>
                  <a:pt x="153" y="86"/>
                </a:lnTo>
                <a:lnTo>
                  <a:pt x="124" y="85"/>
                </a:lnTo>
                <a:lnTo>
                  <a:pt x="103" y="87"/>
                </a:lnTo>
                <a:lnTo>
                  <a:pt x="97" y="91"/>
                </a:lnTo>
                <a:lnTo>
                  <a:pt x="94" y="96"/>
                </a:lnTo>
                <a:lnTo>
                  <a:pt x="92" y="97"/>
                </a:lnTo>
                <a:lnTo>
                  <a:pt x="83" y="101"/>
                </a:lnTo>
                <a:lnTo>
                  <a:pt x="71" y="103"/>
                </a:lnTo>
                <a:lnTo>
                  <a:pt x="65" y="91"/>
                </a:lnTo>
                <a:lnTo>
                  <a:pt x="65" y="88"/>
                </a:lnTo>
                <a:lnTo>
                  <a:pt x="56" y="88"/>
                </a:lnTo>
                <a:lnTo>
                  <a:pt x="51" y="91"/>
                </a:lnTo>
                <a:lnTo>
                  <a:pt x="48" y="93"/>
                </a:lnTo>
                <a:lnTo>
                  <a:pt x="41" y="102"/>
                </a:lnTo>
                <a:lnTo>
                  <a:pt x="34" y="114"/>
                </a:lnTo>
                <a:lnTo>
                  <a:pt x="30" y="118"/>
                </a:lnTo>
                <a:lnTo>
                  <a:pt x="30" y="120"/>
                </a:lnTo>
                <a:lnTo>
                  <a:pt x="19" y="130"/>
                </a:lnTo>
                <a:lnTo>
                  <a:pt x="16" y="130"/>
                </a:lnTo>
                <a:lnTo>
                  <a:pt x="16" y="128"/>
                </a:lnTo>
                <a:lnTo>
                  <a:pt x="8" y="123"/>
                </a:lnTo>
                <a:lnTo>
                  <a:pt x="7" y="122"/>
                </a:lnTo>
                <a:lnTo>
                  <a:pt x="7" y="112"/>
                </a:lnTo>
                <a:lnTo>
                  <a:pt x="5" y="108"/>
                </a:lnTo>
                <a:lnTo>
                  <a:pt x="6" y="106"/>
                </a:lnTo>
                <a:lnTo>
                  <a:pt x="7" y="92"/>
                </a:lnTo>
                <a:lnTo>
                  <a:pt x="6" y="86"/>
                </a:lnTo>
                <a:lnTo>
                  <a:pt x="0" y="80"/>
                </a:lnTo>
                <a:lnTo>
                  <a:pt x="0" y="76"/>
                </a:lnTo>
                <a:lnTo>
                  <a:pt x="2" y="72"/>
                </a:lnTo>
                <a:lnTo>
                  <a:pt x="9" y="66"/>
                </a:lnTo>
                <a:lnTo>
                  <a:pt x="8" y="50"/>
                </a:lnTo>
                <a:lnTo>
                  <a:pt x="12" y="47"/>
                </a:lnTo>
                <a:lnTo>
                  <a:pt x="13" y="40"/>
                </a:lnTo>
                <a:lnTo>
                  <a:pt x="9" y="36"/>
                </a:lnTo>
                <a:lnTo>
                  <a:pt x="11" y="22"/>
                </a:lnTo>
                <a:lnTo>
                  <a:pt x="8" y="13"/>
                </a:lnTo>
                <a:lnTo>
                  <a:pt x="2" y="6"/>
                </a:lnTo>
                <a:lnTo>
                  <a:pt x="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9" name="Freeform 1372"/>
          <p:cNvSpPr>
            <a:spLocks/>
          </p:cNvSpPr>
          <p:nvPr userDrawn="1"/>
        </p:nvSpPr>
        <p:spPr bwMode="auto">
          <a:xfrm>
            <a:off x="2835746" y="4177620"/>
            <a:ext cx="56864" cy="43982"/>
          </a:xfrm>
          <a:custGeom>
            <a:avLst/>
            <a:gdLst/>
            <a:ahLst/>
            <a:cxnLst>
              <a:cxn ang="0">
                <a:pos x="144" y="109"/>
              </a:cxn>
              <a:cxn ang="0">
                <a:pos x="145" y="107"/>
              </a:cxn>
              <a:cxn ang="0">
                <a:pos x="147" y="93"/>
              </a:cxn>
              <a:cxn ang="0">
                <a:pos x="145" y="87"/>
              </a:cxn>
              <a:cxn ang="0">
                <a:pos x="140" y="81"/>
              </a:cxn>
              <a:cxn ang="0">
                <a:pos x="140" y="77"/>
              </a:cxn>
              <a:cxn ang="0">
                <a:pos x="141" y="73"/>
              </a:cxn>
              <a:cxn ang="0">
                <a:pos x="148" y="67"/>
              </a:cxn>
              <a:cxn ang="0">
                <a:pos x="147" y="51"/>
              </a:cxn>
              <a:cxn ang="0">
                <a:pos x="151" y="48"/>
              </a:cxn>
              <a:cxn ang="0">
                <a:pos x="153" y="41"/>
              </a:cxn>
              <a:cxn ang="0">
                <a:pos x="148" y="37"/>
              </a:cxn>
              <a:cxn ang="0">
                <a:pos x="150" y="23"/>
              </a:cxn>
              <a:cxn ang="0">
                <a:pos x="147" y="14"/>
              </a:cxn>
              <a:cxn ang="0">
                <a:pos x="141" y="7"/>
              </a:cxn>
              <a:cxn ang="0">
                <a:pos x="142" y="6"/>
              </a:cxn>
              <a:cxn ang="0">
                <a:pos x="141" y="6"/>
              </a:cxn>
              <a:cxn ang="0">
                <a:pos x="135" y="11"/>
              </a:cxn>
              <a:cxn ang="0">
                <a:pos x="112" y="11"/>
              </a:cxn>
              <a:cxn ang="0">
                <a:pos x="105" y="10"/>
              </a:cxn>
              <a:cxn ang="0">
                <a:pos x="98" y="5"/>
              </a:cxn>
              <a:cxn ang="0">
                <a:pos x="89" y="1"/>
              </a:cxn>
              <a:cxn ang="0">
                <a:pos x="77" y="0"/>
              </a:cxn>
              <a:cxn ang="0">
                <a:pos x="61" y="2"/>
              </a:cxn>
              <a:cxn ang="0">
                <a:pos x="55" y="6"/>
              </a:cxn>
              <a:cxn ang="0">
                <a:pos x="51" y="11"/>
              </a:cxn>
              <a:cxn ang="0">
                <a:pos x="53" y="17"/>
              </a:cxn>
              <a:cxn ang="0">
                <a:pos x="56" y="18"/>
              </a:cxn>
              <a:cxn ang="0">
                <a:pos x="77" y="18"/>
              </a:cxn>
              <a:cxn ang="0">
                <a:pos x="86" y="23"/>
              </a:cxn>
              <a:cxn ang="0">
                <a:pos x="87" y="29"/>
              </a:cxn>
              <a:cxn ang="0">
                <a:pos x="87" y="51"/>
              </a:cxn>
              <a:cxn ang="0">
                <a:pos x="89" y="56"/>
              </a:cxn>
              <a:cxn ang="0">
                <a:pos x="102" y="67"/>
              </a:cxn>
              <a:cxn ang="0">
                <a:pos x="110" y="71"/>
              </a:cxn>
              <a:cxn ang="0">
                <a:pos x="110" y="77"/>
              </a:cxn>
              <a:cxn ang="0">
                <a:pos x="108" y="80"/>
              </a:cxn>
              <a:cxn ang="0">
                <a:pos x="101" y="80"/>
              </a:cxn>
              <a:cxn ang="0">
                <a:pos x="89" y="82"/>
              </a:cxn>
              <a:cxn ang="0">
                <a:pos x="65" y="83"/>
              </a:cxn>
              <a:cxn ang="0">
                <a:pos x="45" y="81"/>
              </a:cxn>
              <a:cxn ang="0">
                <a:pos x="32" y="77"/>
              </a:cxn>
              <a:cxn ang="0">
                <a:pos x="1" y="77"/>
              </a:cxn>
              <a:cxn ang="0">
                <a:pos x="0" y="80"/>
              </a:cxn>
              <a:cxn ang="0">
                <a:pos x="0" y="86"/>
              </a:cxn>
              <a:cxn ang="0">
                <a:pos x="7" y="96"/>
              </a:cxn>
              <a:cxn ang="0">
                <a:pos x="22" y="102"/>
              </a:cxn>
              <a:cxn ang="0">
                <a:pos x="28" y="108"/>
              </a:cxn>
              <a:cxn ang="0">
                <a:pos x="32" y="107"/>
              </a:cxn>
              <a:cxn ang="0">
                <a:pos x="32" y="102"/>
              </a:cxn>
              <a:cxn ang="0">
                <a:pos x="34" y="99"/>
              </a:cxn>
              <a:cxn ang="0">
                <a:pos x="39" y="97"/>
              </a:cxn>
              <a:cxn ang="0">
                <a:pos x="43" y="97"/>
              </a:cxn>
              <a:cxn ang="0">
                <a:pos x="59" y="97"/>
              </a:cxn>
              <a:cxn ang="0">
                <a:pos x="87" y="104"/>
              </a:cxn>
              <a:cxn ang="0">
                <a:pos x="96" y="104"/>
              </a:cxn>
              <a:cxn ang="0">
                <a:pos x="113" y="99"/>
              </a:cxn>
              <a:cxn ang="0">
                <a:pos x="120" y="99"/>
              </a:cxn>
              <a:cxn ang="0">
                <a:pos x="126" y="100"/>
              </a:cxn>
              <a:cxn ang="0">
                <a:pos x="132" y="103"/>
              </a:cxn>
              <a:cxn ang="0">
                <a:pos x="137" y="104"/>
              </a:cxn>
              <a:cxn ang="0">
                <a:pos x="144" y="108"/>
              </a:cxn>
              <a:cxn ang="0">
                <a:pos x="144" y="109"/>
              </a:cxn>
            </a:cxnLst>
            <a:rect l="0" t="0" r="r" b="b"/>
            <a:pathLst>
              <a:path w="153" h="109">
                <a:moveTo>
                  <a:pt x="144" y="109"/>
                </a:moveTo>
                <a:lnTo>
                  <a:pt x="145" y="107"/>
                </a:lnTo>
                <a:lnTo>
                  <a:pt x="147" y="93"/>
                </a:lnTo>
                <a:lnTo>
                  <a:pt x="145" y="87"/>
                </a:lnTo>
                <a:lnTo>
                  <a:pt x="140" y="81"/>
                </a:lnTo>
                <a:lnTo>
                  <a:pt x="140" y="77"/>
                </a:lnTo>
                <a:lnTo>
                  <a:pt x="141" y="73"/>
                </a:lnTo>
                <a:lnTo>
                  <a:pt x="148" y="67"/>
                </a:lnTo>
                <a:lnTo>
                  <a:pt x="147" y="51"/>
                </a:lnTo>
                <a:lnTo>
                  <a:pt x="151" y="48"/>
                </a:lnTo>
                <a:lnTo>
                  <a:pt x="153" y="41"/>
                </a:lnTo>
                <a:lnTo>
                  <a:pt x="148" y="37"/>
                </a:lnTo>
                <a:lnTo>
                  <a:pt x="150" y="23"/>
                </a:lnTo>
                <a:lnTo>
                  <a:pt x="147" y="14"/>
                </a:lnTo>
                <a:lnTo>
                  <a:pt x="141" y="7"/>
                </a:lnTo>
                <a:lnTo>
                  <a:pt x="142" y="6"/>
                </a:lnTo>
                <a:lnTo>
                  <a:pt x="141" y="6"/>
                </a:lnTo>
                <a:lnTo>
                  <a:pt x="135" y="11"/>
                </a:lnTo>
                <a:lnTo>
                  <a:pt x="112" y="11"/>
                </a:lnTo>
                <a:lnTo>
                  <a:pt x="105" y="10"/>
                </a:lnTo>
                <a:lnTo>
                  <a:pt x="98" y="5"/>
                </a:lnTo>
                <a:lnTo>
                  <a:pt x="89" y="1"/>
                </a:lnTo>
                <a:lnTo>
                  <a:pt x="77" y="0"/>
                </a:lnTo>
                <a:lnTo>
                  <a:pt x="61" y="2"/>
                </a:lnTo>
                <a:lnTo>
                  <a:pt x="55" y="6"/>
                </a:lnTo>
                <a:lnTo>
                  <a:pt x="51" y="11"/>
                </a:lnTo>
                <a:lnTo>
                  <a:pt x="53" y="17"/>
                </a:lnTo>
                <a:lnTo>
                  <a:pt x="56" y="18"/>
                </a:lnTo>
                <a:lnTo>
                  <a:pt x="77" y="18"/>
                </a:lnTo>
                <a:lnTo>
                  <a:pt x="86" y="23"/>
                </a:lnTo>
                <a:lnTo>
                  <a:pt x="87" y="29"/>
                </a:lnTo>
                <a:lnTo>
                  <a:pt x="87" y="51"/>
                </a:lnTo>
                <a:lnTo>
                  <a:pt x="89" y="56"/>
                </a:lnTo>
                <a:lnTo>
                  <a:pt x="102" y="67"/>
                </a:lnTo>
                <a:lnTo>
                  <a:pt x="110" y="71"/>
                </a:lnTo>
                <a:lnTo>
                  <a:pt x="110" y="77"/>
                </a:lnTo>
                <a:lnTo>
                  <a:pt x="108" y="80"/>
                </a:lnTo>
                <a:lnTo>
                  <a:pt x="101" y="80"/>
                </a:lnTo>
                <a:lnTo>
                  <a:pt x="89" y="82"/>
                </a:lnTo>
                <a:lnTo>
                  <a:pt x="65" y="83"/>
                </a:lnTo>
                <a:lnTo>
                  <a:pt x="45" y="81"/>
                </a:lnTo>
                <a:lnTo>
                  <a:pt x="32" y="77"/>
                </a:lnTo>
                <a:lnTo>
                  <a:pt x="1" y="77"/>
                </a:lnTo>
                <a:lnTo>
                  <a:pt x="0" y="80"/>
                </a:lnTo>
                <a:lnTo>
                  <a:pt x="0" y="86"/>
                </a:lnTo>
                <a:lnTo>
                  <a:pt x="7" y="96"/>
                </a:lnTo>
                <a:lnTo>
                  <a:pt x="22" y="102"/>
                </a:lnTo>
                <a:lnTo>
                  <a:pt x="28" y="108"/>
                </a:lnTo>
                <a:lnTo>
                  <a:pt x="32" y="107"/>
                </a:lnTo>
                <a:lnTo>
                  <a:pt x="32" y="102"/>
                </a:lnTo>
                <a:lnTo>
                  <a:pt x="34" y="99"/>
                </a:lnTo>
                <a:lnTo>
                  <a:pt x="39" y="97"/>
                </a:lnTo>
                <a:lnTo>
                  <a:pt x="43" y="97"/>
                </a:lnTo>
                <a:lnTo>
                  <a:pt x="59" y="97"/>
                </a:lnTo>
                <a:lnTo>
                  <a:pt x="87" y="104"/>
                </a:lnTo>
                <a:lnTo>
                  <a:pt x="96" y="104"/>
                </a:lnTo>
                <a:lnTo>
                  <a:pt x="113" y="99"/>
                </a:lnTo>
                <a:lnTo>
                  <a:pt x="120" y="99"/>
                </a:lnTo>
                <a:lnTo>
                  <a:pt x="126" y="100"/>
                </a:lnTo>
                <a:lnTo>
                  <a:pt x="132" y="103"/>
                </a:lnTo>
                <a:lnTo>
                  <a:pt x="137" y="104"/>
                </a:lnTo>
                <a:lnTo>
                  <a:pt x="144" y="108"/>
                </a:lnTo>
                <a:lnTo>
                  <a:pt x="144" y="1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0" name="Freeform 1373"/>
          <p:cNvSpPr>
            <a:spLocks/>
          </p:cNvSpPr>
          <p:nvPr userDrawn="1"/>
        </p:nvSpPr>
        <p:spPr bwMode="auto">
          <a:xfrm>
            <a:off x="2624795" y="4101652"/>
            <a:ext cx="212785" cy="77968"/>
          </a:xfrm>
          <a:custGeom>
            <a:avLst/>
            <a:gdLst/>
            <a:ahLst/>
            <a:cxnLst>
              <a:cxn ang="0">
                <a:pos x="433" y="101"/>
              </a:cxn>
              <a:cxn ang="0">
                <a:pos x="460" y="113"/>
              </a:cxn>
              <a:cxn ang="0">
                <a:pos x="480" y="121"/>
              </a:cxn>
              <a:cxn ang="0">
                <a:pos x="500" y="121"/>
              </a:cxn>
              <a:cxn ang="0">
                <a:pos x="500" y="138"/>
              </a:cxn>
              <a:cxn ang="0">
                <a:pos x="508" y="144"/>
              </a:cxn>
              <a:cxn ang="0">
                <a:pos x="552" y="153"/>
              </a:cxn>
              <a:cxn ang="0">
                <a:pos x="577" y="167"/>
              </a:cxn>
              <a:cxn ang="0">
                <a:pos x="546" y="188"/>
              </a:cxn>
              <a:cxn ang="0">
                <a:pos x="507" y="194"/>
              </a:cxn>
              <a:cxn ang="0">
                <a:pos x="441" y="191"/>
              </a:cxn>
              <a:cxn ang="0">
                <a:pos x="395" y="197"/>
              </a:cxn>
              <a:cxn ang="0">
                <a:pos x="393" y="187"/>
              </a:cxn>
              <a:cxn ang="0">
                <a:pos x="427" y="167"/>
              </a:cxn>
              <a:cxn ang="0">
                <a:pos x="421" y="154"/>
              </a:cxn>
              <a:cxn ang="0">
                <a:pos x="367" y="142"/>
              </a:cxn>
              <a:cxn ang="0">
                <a:pos x="346" y="116"/>
              </a:cxn>
              <a:cxn ang="0">
                <a:pos x="319" y="96"/>
              </a:cxn>
              <a:cxn ang="0">
                <a:pos x="292" y="94"/>
              </a:cxn>
              <a:cxn ang="0">
                <a:pos x="244" y="73"/>
              </a:cxn>
              <a:cxn ang="0">
                <a:pos x="206" y="64"/>
              </a:cxn>
              <a:cxn ang="0">
                <a:pos x="190" y="68"/>
              </a:cxn>
              <a:cxn ang="0">
                <a:pos x="165" y="63"/>
              </a:cxn>
              <a:cxn ang="0">
                <a:pos x="151" y="52"/>
              </a:cxn>
              <a:cxn ang="0">
                <a:pos x="172" y="41"/>
              </a:cxn>
              <a:cxn ang="0">
                <a:pos x="162" y="34"/>
              </a:cxn>
              <a:cxn ang="0">
                <a:pos x="104" y="37"/>
              </a:cxn>
              <a:cxn ang="0">
                <a:pos x="78" y="58"/>
              </a:cxn>
              <a:cxn ang="0">
                <a:pos x="49" y="72"/>
              </a:cxn>
              <a:cxn ang="0">
                <a:pos x="22" y="85"/>
              </a:cxn>
              <a:cxn ang="0">
                <a:pos x="17" y="79"/>
              </a:cxn>
              <a:cxn ang="0">
                <a:pos x="13" y="70"/>
              </a:cxn>
              <a:cxn ang="0">
                <a:pos x="24" y="64"/>
              </a:cxn>
              <a:cxn ang="0">
                <a:pos x="40" y="31"/>
              </a:cxn>
              <a:cxn ang="0">
                <a:pos x="78" y="15"/>
              </a:cxn>
              <a:cxn ang="0">
                <a:pos x="174" y="0"/>
              </a:cxn>
              <a:cxn ang="0">
                <a:pos x="226" y="4"/>
              </a:cxn>
              <a:cxn ang="0">
                <a:pos x="259" y="11"/>
              </a:cxn>
              <a:cxn ang="0">
                <a:pos x="285" y="34"/>
              </a:cxn>
              <a:cxn ang="0">
                <a:pos x="328" y="45"/>
              </a:cxn>
              <a:cxn ang="0">
                <a:pos x="346" y="52"/>
              </a:cxn>
              <a:cxn ang="0">
                <a:pos x="346" y="58"/>
              </a:cxn>
              <a:cxn ang="0">
                <a:pos x="378" y="75"/>
              </a:cxn>
              <a:cxn ang="0">
                <a:pos x="417" y="90"/>
              </a:cxn>
            </a:cxnLst>
            <a:rect l="0" t="0" r="r" b="b"/>
            <a:pathLst>
              <a:path w="583" h="197">
                <a:moveTo>
                  <a:pt x="417" y="90"/>
                </a:moveTo>
                <a:lnTo>
                  <a:pt x="419" y="91"/>
                </a:lnTo>
                <a:lnTo>
                  <a:pt x="433" y="101"/>
                </a:lnTo>
                <a:lnTo>
                  <a:pt x="446" y="111"/>
                </a:lnTo>
                <a:lnTo>
                  <a:pt x="454" y="113"/>
                </a:lnTo>
                <a:lnTo>
                  <a:pt x="460" y="113"/>
                </a:lnTo>
                <a:lnTo>
                  <a:pt x="464" y="115"/>
                </a:lnTo>
                <a:lnTo>
                  <a:pt x="468" y="117"/>
                </a:lnTo>
                <a:lnTo>
                  <a:pt x="480" y="121"/>
                </a:lnTo>
                <a:lnTo>
                  <a:pt x="487" y="121"/>
                </a:lnTo>
                <a:lnTo>
                  <a:pt x="495" y="119"/>
                </a:lnTo>
                <a:lnTo>
                  <a:pt x="500" y="121"/>
                </a:lnTo>
                <a:lnTo>
                  <a:pt x="503" y="127"/>
                </a:lnTo>
                <a:lnTo>
                  <a:pt x="503" y="131"/>
                </a:lnTo>
                <a:lnTo>
                  <a:pt x="500" y="138"/>
                </a:lnTo>
                <a:lnTo>
                  <a:pt x="500" y="142"/>
                </a:lnTo>
                <a:lnTo>
                  <a:pt x="501" y="143"/>
                </a:lnTo>
                <a:lnTo>
                  <a:pt x="508" y="144"/>
                </a:lnTo>
                <a:lnTo>
                  <a:pt x="539" y="143"/>
                </a:lnTo>
                <a:lnTo>
                  <a:pt x="545" y="145"/>
                </a:lnTo>
                <a:lnTo>
                  <a:pt x="552" y="153"/>
                </a:lnTo>
                <a:lnTo>
                  <a:pt x="555" y="156"/>
                </a:lnTo>
                <a:lnTo>
                  <a:pt x="568" y="166"/>
                </a:lnTo>
                <a:lnTo>
                  <a:pt x="577" y="167"/>
                </a:lnTo>
                <a:lnTo>
                  <a:pt x="583" y="169"/>
                </a:lnTo>
                <a:lnTo>
                  <a:pt x="583" y="176"/>
                </a:lnTo>
                <a:lnTo>
                  <a:pt x="546" y="188"/>
                </a:lnTo>
                <a:lnTo>
                  <a:pt x="535" y="193"/>
                </a:lnTo>
                <a:lnTo>
                  <a:pt x="522" y="196"/>
                </a:lnTo>
                <a:lnTo>
                  <a:pt x="507" y="194"/>
                </a:lnTo>
                <a:lnTo>
                  <a:pt x="497" y="192"/>
                </a:lnTo>
                <a:lnTo>
                  <a:pt x="487" y="191"/>
                </a:lnTo>
                <a:lnTo>
                  <a:pt x="441" y="191"/>
                </a:lnTo>
                <a:lnTo>
                  <a:pt x="417" y="193"/>
                </a:lnTo>
                <a:lnTo>
                  <a:pt x="404" y="197"/>
                </a:lnTo>
                <a:lnTo>
                  <a:pt x="395" y="197"/>
                </a:lnTo>
                <a:lnTo>
                  <a:pt x="390" y="196"/>
                </a:lnTo>
                <a:lnTo>
                  <a:pt x="389" y="192"/>
                </a:lnTo>
                <a:lnTo>
                  <a:pt x="393" y="187"/>
                </a:lnTo>
                <a:lnTo>
                  <a:pt x="404" y="178"/>
                </a:lnTo>
                <a:lnTo>
                  <a:pt x="414" y="172"/>
                </a:lnTo>
                <a:lnTo>
                  <a:pt x="427" y="167"/>
                </a:lnTo>
                <a:lnTo>
                  <a:pt x="428" y="161"/>
                </a:lnTo>
                <a:lnTo>
                  <a:pt x="427" y="158"/>
                </a:lnTo>
                <a:lnTo>
                  <a:pt x="421" y="154"/>
                </a:lnTo>
                <a:lnTo>
                  <a:pt x="404" y="149"/>
                </a:lnTo>
                <a:lnTo>
                  <a:pt x="373" y="147"/>
                </a:lnTo>
                <a:lnTo>
                  <a:pt x="367" y="142"/>
                </a:lnTo>
                <a:lnTo>
                  <a:pt x="358" y="135"/>
                </a:lnTo>
                <a:lnTo>
                  <a:pt x="352" y="128"/>
                </a:lnTo>
                <a:lnTo>
                  <a:pt x="346" y="116"/>
                </a:lnTo>
                <a:lnTo>
                  <a:pt x="345" y="107"/>
                </a:lnTo>
                <a:lnTo>
                  <a:pt x="337" y="99"/>
                </a:lnTo>
                <a:lnTo>
                  <a:pt x="319" y="96"/>
                </a:lnTo>
                <a:lnTo>
                  <a:pt x="302" y="97"/>
                </a:lnTo>
                <a:lnTo>
                  <a:pt x="296" y="96"/>
                </a:lnTo>
                <a:lnTo>
                  <a:pt x="292" y="94"/>
                </a:lnTo>
                <a:lnTo>
                  <a:pt x="272" y="90"/>
                </a:lnTo>
                <a:lnTo>
                  <a:pt x="256" y="83"/>
                </a:lnTo>
                <a:lnTo>
                  <a:pt x="244" y="73"/>
                </a:lnTo>
                <a:lnTo>
                  <a:pt x="236" y="68"/>
                </a:lnTo>
                <a:lnTo>
                  <a:pt x="212" y="68"/>
                </a:lnTo>
                <a:lnTo>
                  <a:pt x="206" y="64"/>
                </a:lnTo>
                <a:lnTo>
                  <a:pt x="201" y="64"/>
                </a:lnTo>
                <a:lnTo>
                  <a:pt x="196" y="67"/>
                </a:lnTo>
                <a:lnTo>
                  <a:pt x="190" y="68"/>
                </a:lnTo>
                <a:lnTo>
                  <a:pt x="183" y="65"/>
                </a:lnTo>
                <a:lnTo>
                  <a:pt x="180" y="63"/>
                </a:lnTo>
                <a:lnTo>
                  <a:pt x="165" y="63"/>
                </a:lnTo>
                <a:lnTo>
                  <a:pt x="157" y="61"/>
                </a:lnTo>
                <a:lnTo>
                  <a:pt x="154" y="58"/>
                </a:lnTo>
                <a:lnTo>
                  <a:pt x="151" y="52"/>
                </a:lnTo>
                <a:lnTo>
                  <a:pt x="151" y="49"/>
                </a:lnTo>
                <a:lnTo>
                  <a:pt x="169" y="45"/>
                </a:lnTo>
                <a:lnTo>
                  <a:pt x="172" y="41"/>
                </a:lnTo>
                <a:lnTo>
                  <a:pt x="170" y="37"/>
                </a:lnTo>
                <a:lnTo>
                  <a:pt x="163" y="36"/>
                </a:lnTo>
                <a:lnTo>
                  <a:pt x="162" y="34"/>
                </a:lnTo>
                <a:lnTo>
                  <a:pt x="125" y="30"/>
                </a:lnTo>
                <a:lnTo>
                  <a:pt x="114" y="31"/>
                </a:lnTo>
                <a:lnTo>
                  <a:pt x="104" y="37"/>
                </a:lnTo>
                <a:lnTo>
                  <a:pt x="97" y="45"/>
                </a:lnTo>
                <a:lnTo>
                  <a:pt x="89" y="53"/>
                </a:lnTo>
                <a:lnTo>
                  <a:pt x="78" y="58"/>
                </a:lnTo>
                <a:lnTo>
                  <a:pt x="64" y="59"/>
                </a:lnTo>
                <a:lnTo>
                  <a:pt x="56" y="62"/>
                </a:lnTo>
                <a:lnTo>
                  <a:pt x="49" y="72"/>
                </a:lnTo>
                <a:lnTo>
                  <a:pt x="39" y="73"/>
                </a:lnTo>
                <a:lnTo>
                  <a:pt x="36" y="74"/>
                </a:lnTo>
                <a:lnTo>
                  <a:pt x="22" y="85"/>
                </a:lnTo>
                <a:lnTo>
                  <a:pt x="21" y="85"/>
                </a:lnTo>
                <a:lnTo>
                  <a:pt x="19" y="83"/>
                </a:lnTo>
                <a:lnTo>
                  <a:pt x="17" y="79"/>
                </a:lnTo>
                <a:lnTo>
                  <a:pt x="0" y="80"/>
                </a:lnTo>
                <a:lnTo>
                  <a:pt x="0" y="78"/>
                </a:lnTo>
                <a:lnTo>
                  <a:pt x="13" y="70"/>
                </a:lnTo>
                <a:lnTo>
                  <a:pt x="22" y="69"/>
                </a:lnTo>
                <a:lnTo>
                  <a:pt x="24" y="68"/>
                </a:lnTo>
                <a:lnTo>
                  <a:pt x="24" y="64"/>
                </a:lnTo>
                <a:lnTo>
                  <a:pt x="24" y="46"/>
                </a:lnTo>
                <a:lnTo>
                  <a:pt x="28" y="41"/>
                </a:lnTo>
                <a:lnTo>
                  <a:pt x="40" y="31"/>
                </a:lnTo>
                <a:lnTo>
                  <a:pt x="57" y="24"/>
                </a:lnTo>
                <a:lnTo>
                  <a:pt x="61" y="22"/>
                </a:lnTo>
                <a:lnTo>
                  <a:pt x="78" y="15"/>
                </a:lnTo>
                <a:lnTo>
                  <a:pt x="118" y="6"/>
                </a:lnTo>
                <a:lnTo>
                  <a:pt x="130" y="2"/>
                </a:lnTo>
                <a:lnTo>
                  <a:pt x="174" y="0"/>
                </a:lnTo>
                <a:lnTo>
                  <a:pt x="194" y="4"/>
                </a:lnTo>
                <a:lnTo>
                  <a:pt x="213" y="5"/>
                </a:lnTo>
                <a:lnTo>
                  <a:pt x="226" y="4"/>
                </a:lnTo>
                <a:lnTo>
                  <a:pt x="233" y="10"/>
                </a:lnTo>
                <a:lnTo>
                  <a:pt x="238" y="13"/>
                </a:lnTo>
                <a:lnTo>
                  <a:pt x="259" y="11"/>
                </a:lnTo>
                <a:lnTo>
                  <a:pt x="265" y="15"/>
                </a:lnTo>
                <a:lnTo>
                  <a:pt x="281" y="27"/>
                </a:lnTo>
                <a:lnTo>
                  <a:pt x="285" y="34"/>
                </a:lnTo>
                <a:lnTo>
                  <a:pt x="296" y="42"/>
                </a:lnTo>
                <a:lnTo>
                  <a:pt x="304" y="46"/>
                </a:lnTo>
                <a:lnTo>
                  <a:pt x="328" y="45"/>
                </a:lnTo>
                <a:lnTo>
                  <a:pt x="334" y="48"/>
                </a:lnTo>
                <a:lnTo>
                  <a:pt x="342" y="48"/>
                </a:lnTo>
                <a:lnTo>
                  <a:pt x="346" y="52"/>
                </a:lnTo>
                <a:lnTo>
                  <a:pt x="342" y="52"/>
                </a:lnTo>
                <a:lnTo>
                  <a:pt x="342" y="56"/>
                </a:lnTo>
                <a:lnTo>
                  <a:pt x="346" y="58"/>
                </a:lnTo>
                <a:lnTo>
                  <a:pt x="358" y="59"/>
                </a:lnTo>
                <a:lnTo>
                  <a:pt x="366" y="63"/>
                </a:lnTo>
                <a:lnTo>
                  <a:pt x="378" y="75"/>
                </a:lnTo>
                <a:lnTo>
                  <a:pt x="395" y="81"/>
                </a:lnTo>
                <a:lnTo>
                  <a:pt x="409" y="88"/>
                </a:lnTo>
                <a:lnTo>
                  <a:pt x="417" y="9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1" name="Freeform 1375"/>
          <p:cNvSpPr>
            <a:spLocks/>
          </p:cNvSpPr>
          <p:nvPr userDrawn="1"/>
        </p:nvSpPr>
        <p:spPr bwMode="auto">
          <a:xfrm>
            <a:off x="1977266" y="3867750"/>
            <a:ext cx="607172" cy="431820"/>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462" name="Group 1376"/>
          <p:cNvGrpSpPr>
            <a:grpSpLocks/>
          </p:cNvGrpSpPr>
          <p:nvPr userDrawn="1"/>
        </p:nvGrpSpPr>
        <p:grpSpPr bwMode="auto">
          <a:xfrm>
            <a:off x="950026" y="2360375"/>
            <a:ext cx="2039805" cy="1695294"/>
            <a:chOff x="914" y="1431"/>
            <a:chExt cx="1112" cy="848"/>
          </a:xfrm>
          <a:solidFill>
            <a:schemeClr val="bg1">
              <a:lumMod val="75000"/>
            </a:schemeClr>
          </a:solidFill>
        </p:grpSpPr>
        <p:grpSp>
          <p:nvGrpSpPr>
            <p:cNvPr id="463" name="Group 1377"/>
            <p:cNvGrpSpPr>
              <a:grpSpLocks/>
            </p:cNvGrpSpPr>
            <p:nvPr/>
          </p:nvGrpSpPr>
          <p:grpSpPr bwMode="auto">
            <a:xfrm>
              <a:off x="914" y="1431"/>
              <a:ext cx="418" cy="413"/>
              <a:chOff x="914" y="1431"/>
              <a:chExt cx="418" cy="413"/>
            </a:xfrm>
            <a:grpFill/>
          </p:grpSpPr>
          <p:sp>
            <p:nvSpPr>
              <p:cNvPr id="470" name="Freeform 1378"/>
              <p:cNvSpPr>
                <a:spLocks/>
              </p:cNvSpPr>
              <p:nvPr/>
            </p:nvSpPr>
            <p:spPr bwMode="auto">
              <a:xfrm>
                <a:off x="1018" y="1813"/>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1" name="Freeform 1379"/>
              <p:cNvSpPr>
                <a:spLocks/>
              </p:cNvSpPr>
              <p:nvPr/>
            </p:nvSpPr>
            <p:spPr bwMode="auto">
              <a:xfrm>
                <a:off x="1075" y="1796"/>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2" name="Freeform 1380"/>
              <p:cNvSpPr>
                <a:spLocks/>
              </p:cNvSpPr>
              <p:nvPr/>
            </p:nvSpPr>
            <p:spPr bwMode="auto">
              <a:xfrm>
                <a:off x="1059" y="1781"/>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3" name="Freeform 1381"/>
              <p:cNvSpPr>
                <a:spLocks/>
              </p:cNvSpPr>
              <p:nvPr/>
            </p:nvSpPr>
            <p:spPr bwMode="auto">
              <a:xfrm>
                <a:off x="914" y="1431"/>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4" name="Freeform 1382"/>
              <p:cNvSpPr>
                <a:spLocks/>
              </p:cNvSpPr>
              <p:nvPr/>
            </p:nvSpPr>
            <p:spPr bwMode="auto">
              <a:xfrm>
                <a:off x="1241" y="1743"/>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464" name="Group 1383"/>
            <p:cNvGrpSpPr>
              <a:grpSpLocks/>
            </p:cNvGrpSpPr>
            <p:nvPr/>
          </p:nvGrpSpPr>
          <p:grpSpPr bwMode="auto">
            <a:xfrm>
              <a:off x="1391" y="1940"/>
              <a:ext cx="635" cy="339"/>
              <a:chOff x="1391" y="1940"/>
              <a:chExt cx="635" cy="339"/>
            </a:xfrm>
            <a:grpFill/>
          </p:grpSpPr>
          <p:sp>
            <p:nvSpPr>
              <p:cNvPr id="465" name="Freeform 1384"/>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6" name="Freeform 1385"/>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7" name="Freeform 1386"/>
              <p:cNvSpPr>
                <a:spLocks/>
              </p:cNvSpPr>
              <p:nvPr/>
            </p:nvSpPr>
            <p:spPr bwMode="auto">
              <a:xfrm>
                <a:off x="1913" y="2102"/>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8" name="Freeform 1387"/>
              <p:cNvSpPr>
                <a:spLocks/>
              </p:cNvSpPr>
              <p:nvPr/>
            </p:nvSpPr>
            <p:spPr bwMode="auto">
              <a:xfrm>
                <a:off x="1912" y="2100"/>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9" name="Freeform 1388"/>
              <p:cNvSpPr>
                <a:spLocks/>
              </p:cNvSpPr>
              <p:nvPr/>
            </p:nvSpPr>
            <p:spPr bwMode="auto">
              <a:xfrm>
                <a:off x="1391" y="1940"/>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grpSp>
        <p:nvGrpSpPr>
          <p:cNvPr id="475" name="Group 1389"/>
          <p:cNvGrpSpPr>
            <a:grpSpLocks/>
          </p:cNvGrpSpPr>
          <p:nvPr userDrawn="1"/>
        </p:nvGrpSpPr>
        <p:grpSpPr bwMode="auto">
          <a:xfrm>
            <a:off x="1494843" y="1568683"/>
            <a:ext cx="1777503" cy="2043127"/>
            <a:chOff x="1211" y="1035"/>
            <a:chExt cx="969" cy="1022"/>
          </a:xfrm>
          <a:solidFill>
            <a:schemeClr val="bg1">
              <a:lumMod val="75000"/>
            </a:schemeClr>
          </a:solidFill>
        </p:grpSpPr>
        <p:sp>
          <p:nvSpPr>
            <p:cNvPr id="476" name="Freeform 1390"/>
            <p:cNvSpPr>
              <a:spLocks/>
            </p:cNvSpPr>
            <p:nvPr/>
          </p:nvSpPr>
          <p:spPr bwMode="auto">
            <a:xfrm>
              <a:off x="2145" y="1866"/>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7" name="Freeform 1391"/>
            <p:cNvSpPr>
              <a:spLocks/>
            </p:cNvSpPr>
            <p:nvPr/>
          </p:nvSpPr>
          <p:spPr bwMode="auto">
            <a:xfrm>
              <a:off x="2107" y="1901"/>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8" name="Freeform 1392"/>
            <p:cNvSpPr>
              <a:spLocks/>
            </p:cNvSpPr>
            <p:nvPr/>
          </p:nvSpPr>
          <p:spPr bwMode="auto">
            <a:xfrm>
              <a:off x="1350" y="1914"/>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9" name="Freeform 1393"/>
            <p:cNvSpPr>
              <a:spLocks/>
            </p:cNvSpPr>
            <p:nvPr/>
          </p:nvSpPr>
          <p:spPr bwMode="auto">
            <a:xfrm>
              <a:off x="1667" y="1479"/>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0" name="Freeform 1394"/>
            <p:cNvSpPr>
              <a:spLocks/>
            </p:cNvSpPr>
            <p:nvPr/>
          </p:nvSpPr>
          <p:spPr bwMode="auto">
            <a:xfrm>
              <a:off x="1376" y="1309"/>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1" name="Freeform 1395"/>
            <p:cNvSpPr>
              <a:spLocks/>
            </p:cNvSpPr>
            <p:nvPr/>
          </p:nvSpPr>
          <p:spPr bwMode="auto">
            <a:xfrm>
              <a:off x="1452" y="1358"/>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2" name="Freeform 1396"/>
            <p:cNvSpPr>
              <a:spLocks/>
            </p:cNvSpPr>
            <p:nvPr/>
          </p:nvSpPr>
          <p:spPr bwMode="auto">
            <a:xfrm>
              <a:off x="1584" y="1342"/>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3" name="Freeform 1397"/>
            <p:cNvSpPr>
              <a:spLocks/>
            </p:cNvSpPr>
            <p:nvPr/>
          </p:nvSpPr>
          <p:spPr bwMode="auto">
            <a:xfrm>
              <a:off x="1634" y="1337"/>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4" name="Freeform 1398"/>
            <p:cNvSpPr>
              <a:spLocks/>
            </p:cNvSpPr>
            <p:nvPr/>
          </p:nvSpPr>
          <p:spPr bwMode="auto">
            <a:xfrm>
              <a:off x="1630" y="1216"/>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5" name="Freeform 1399"/>
            <p:cNvSpPr>
              <a:spLocks/>
            </p:cNvSpPr>
            <p:nvPr/>
          </p:nvSpPr>
          <p:spPr bwMode="auto">
            <a:xfrm>
              <a:off x="1467" y="1208"/>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6" name="Freeform 1400"/>
            <p:cNvSpPr>
              <a:spLocks/>
            </p:cNvSpPr>
            <p:nvPr/>
          </p:nvSpPr>
          <p:spPr bwMode="auto">
            <a:xfrm>
              <a:off x="1410" y="1174"/>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7" name="Freeform 1401"/>
            <p:cNvSpPr>
              <a:spLocks/>
            </p:cNvSpPr>
            <p:nvPr/>
          </p:nvSpPr>
          <p:spPr bwMode="auto">
            <a:xfrm>
              <a:off x="1513" y="1145"/>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8" name="Freeform 1402"/>
            <p:cNvSpPr>
              <a:spLocks/>
            </p:cNvSpPr>
            <p:nvPr/>
          </p:nvSpPr>
          <p:spPr bwMode="auto">
            <a:xfrm>
              <a:off x="1513" y="1110"/>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9" name="Freeform 1403"/>
            <p:cNvSpPr>
              <a:spLocks/>
            </p:cNvSpPr>
            <p:nvPr/>
          </p:nvSpPr>
          <p:spPr bwMode="auto">
            <a:xfrm>
              <a:off x="1703" y="1161"/>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0" name="Freeform 1404"/>
            <p:cNvSpPr>
              <a:spLocks/>
            </p:cNvSpPr>
            <p:nvPr/>
          </p:nvSpPr>
          <p:spPr bwMode="auto">
            <a:xfrm>
              <a:off x="1694" y="1196"/>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1" name="Freeform 1405"/>
            <p:cNvSpPr>
              <a:spLocks/>
            </p:cNvSpPr>
            <p:nvPr/>
          </p:nvSpPr>
          <p:spPr bwMode="auto">
            <a:xfrm>
              <a:off x="1699" y="1262"/>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2" name="Freeform 1406"/>
            <p:cNvSpPr>
              <a:spLocks/>
            </p:cNvSpPr>
            <p:nvPr/>
          </p:nvSpPr>
          <p:spPr bwMode="auto">
            <a:xfrm>
              <a:off x="1801" y="1595"/>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3" name="Freeform 1407"/>
            <p:cNvSpPr>
              <a:spLocks/>
            </p:cNvSpPr>
            <p:nvPr/>
          </p:nvSpPr>
          <p:spPr bwMode="auto">
            <a:xfrm>
              <a:off x="1910" y="1527"/>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4" name="Freeform 1408"/>
            <p:cNvSpPr>
              <a:spLocks/>
            </p:cNvSpPr>
            <p:nvPr/>
          </p:nvSpPr>
          <p:spPr bwMode="auto">
            <a:xfrm>
              <a:off x="1870" y="1345"/>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5" name="Freeform 1409"/>
            <p:cNvSpPr>
              <a:spLocks/>
            </p:cNvSpPr>
            <p:nvPr/>
          </p:nvSpPr>
          <p:spPr bwMode="auto">
            <a:xfrm>
              <a:off x="1769" y="1340"/>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6" name="Freeform 1410"/>
            <p:cNvSpPr>
              <a:spLocks/>
            </p:cNvSpPr>
            <p:nvPr/>
          </p:nvSpPr>
          <p:spPr bwMode="auto">
            <a:xfrm>
              <a:off x="1211" y="1409"/>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7" name="Freeform 1411"/>
            <p:cNvSpPr>
              <a:spLocks/>
            </p:cNvSpPr>
            <p:nvPr/>
          </p:nvSpPr>
          <p:spPr bwMode="auto">
            <a:xfrm>
              <a:off x="1679" y="1100"/>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8" name="Freeform 1412"/>
            <p:cNvSpPr>
              <a:spLocks/>
            </p:cNvSpPr>
            <p:nvPr/>
          </p:nvSpPr>
          <p:spPr bwMode="auto">
            <a:xfrm>
              <a:off x="1598" y="1075"/>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9" name="Freeform 1413"/>
            <p:cNvSpPr>
              <a:spLocks/>
            </p:cNvSpPr>
            <p:nvPr/>
          </p:nvSpPr>
          <p:spPr bwMode="auto">
            <a:xfrm>
              <a:off x="1704" y="1035"/>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0" name="Freeform 1414"/>
            <p:cNvSpPr>
              <a:spLocks/>
            </p:cNvSpPr>
            <p:nvPr/>
          </p:nvSpPr>
          <p:spPr bwMode="auto">
            <a:xfrm>
              <a:off x="1774" y="1035"/>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1" name="Freeform 1415"/>
            <p:cNvSpPr>
              <a:spLocks/>
            </p:cNvSpPr>
            <p:nvPr/>
          </p:nvSpPr>
          <p:spPr bwMode="auto">
            <a:xfrm>
              <a:off x="1806" y="1228"/>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2" name="Freeform 1416"/>
            <p:cNvSpPr>
              <a:spLocks/>
            </p:cNvSpPr>
            <p:nvPr/>
          </p:nvSpPr>
          <p:spPr bwMode="auto">
            <a:xfrm>
              <a:off x="1806" y="1222"/>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3" name="Freeform 1417"/>
            <p:cNvSpPr>
              <a:spLocks/>
            </p:cNvSpPr>
            <p:nvPr/>
          </p:nvSpPr>
          <p:spPr bwMode="auto">
            <a:xfrm>
              <a:off x="1273" y="1483"/>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4" name="Freeform 1418"/>
            <p:cNvSpPr>
              <a:spLocks/>
            </p:cNvSpPr>
            <p:nvPr/>
          </p:nvSpPr>
          <p:spPr bwMode="auto">
            <a:xfrm>
              <a:off x="1266" y="1498"/>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05" name="Freeform 1420"/>
          <p:cNvSpPr>
            <a:spLocks/>
          </p:cNvSpPr>
          <p:nvPr userDrawn="1"/>
        </p:nvSpPr>
        <p:spPr bwMode="auto">
          <a:xfrm>
            <a:off x="3446587" y="2976121"/>
            <a:ext cx="7338" cy="7997"/>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6" name="Freeform 1421"/>
          <p:cNvSpPr>
            <a:spLocks/>
          </p:cNvSpPr>
          <p:nvPr userDrawn="1"/>
        </p:nvSpPr>
        <p:spPr bwMode="auto">
          <a:xfrm>
            <a:off x="3837305" y="2250422"/>
            <a:ext cx="53196" cy="55977"/>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7" name="Freeform 1422"/>
          <p:cNvSpPr>
            <a:spLocks/>
          </p:cNvSpPr>
          <p:nvPr userDrawn="1"/>
        </p:nvSpPr>
        <p:spPr bwMode="auto">
          <a:xfrm>
            <a:off x="3767599" y="2380368"/>
            <a:ext cx="53196" cy="39983"/>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8" name="Freeform 1423"/>
          <p:cNvSpPr>
            <a:spLocks/>
          </p:cNvSpPr>
          <p:nvPr userDrawn="1"/>
        </p:nvSpPr>
        <p:spPr bwMode="auto">
          <a:xfrm>
            <a:off x="3228299" y="2428348"/>
            <a:ext cx="60534" cy="65973"/>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9" name="Freeform 1424"/>
          <p:cNvSpPr>
            <a:spLocks/>
          </p:cNvSpPr>
          <p:nvPr userDrawn="1"/>
        </p:nvSpPr>
        <p:spPr bwMode="auto">
          <a:xfrm>
            <a:off x="2945808" y="1860584"/>
            <a:ext cx="60534" cy="23991"/>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0" name="Freeform 1425"/>
          <p:cNvSpPr>
            <a:spLocks/>
          </p:cNvSpPr>
          <p:nvPr userDrawn="1"/>
        </p:nvSpPr>
        <p:spPr bwMode="auto">
          <a:xfrm>
            <a:off x="3448421" y="2970122"/>
            <a:ext cx="16509" cy="5998"/>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1" name="Freeform 1426"/>
          <p:cNvSpPr>
            <a:spLocks/>
          </p:cNvSpPr>
          <p:nvPr userDrawn="1"/>
        </p:nvSpPr>
        <p:spPr bwMode="auto">
          <a:xfrm>
            <a:off x="2865096" y="1568705"/>
            <a:ext cx="1113455" cy="1403417"/>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2" name="Freeform 1429"/>
          <p:cNvSpPr>
            <a:spLocks/>
          </p:cNvSpPr>
          <p:nvPr userDrawn="1"/>
        </p:nvSpPr>
        <p:spPr bwMode="auto">
          <a:xfrm>
            <a:off x="5300825" y="2480196"/>
            <a:ext cx="42201" cy="49972"/>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3" name="Freeform 1430"/>
          <p:cNvSpPr>
            <a:spLocks/>
          </p:cNvSpPr>
          <p:nvPr userDrawn="1"/>
        </p:nvSpPr>
        <p:spPr bwMode="auto">
          <a:xfrm>
            <a:off x="6330164" y="1638667"/>
            <a:ext cx="122934" cy="167907"/>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4" name="Freeform 1431"/>
          <p:cNvSpPr>
            <a:spLocks/>
          </p:cNvSpPr>
          <p:nvPr userDrawn="1"/>
        </p:nvSpPr>
        <p:spPr bwMode="auto">
          <a:xfrm>
            <a:off x="7082444" y="1974478"/>
            <a:ext cx="133943" cy="133925"/>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5" name="Freeform 1432"/>
          <p:cNvSpPr>
            <a:spLocks/>
          </p:cNvSpPr>
          <p:nvPr userDrawn="1"/>
        </p:nvSpPr>
        <p:spPr bwMode="auto">
          <a:xfrm>
            <a:off x="7176020" y="1980475"/>
            <a:ext cx="80732" cy="99944"/>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6" name="Freeform 1433"/>
          <p:cNvSpPr>
            <a:spLocks/>
          </p:cNvSpPr>
          <p:nvPr userDrawn="1"/>
        </p:nvSpPr>
        <p:spPr bwMode="auto">
          <a:xfrm>
            <a:off x="7273265" y="2034444"/>
            <a:ext cx="99081" cy="71960"/>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7" name="Freeform 1434"/>
          <p:cNvSpPr>
            <a:spLocks/>
          </p:cNvSpPr>
          <p:nvPr userDrawn="1"/>
        </p:nvSpPr>
        <p:spPr bwMode="auto">
          <a:xfrm>
            <a:off x="7141158" y="2170368"/>
            <a:ext cx="78897" cy="53970"/>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8" name="Freeform 1435"/>
          <p:cNvSpPr>
            <a:spLocks/>
          </p:cNvSpPr>
          <p:nvPr userDrawn="1"/>
        </p:nvSpPr>
        <p:spPr bwMode="auto">
          <a:xfrm>
            <a:off x="5366879" y="2212347"/>
            <a:ext cx="124769" cy="203885"/>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9" name="Freeform 1436"/>
          <p:cNvSpPr>
            <a:spLocks/>
          </p:cNvSpPr>
          <p:nvPr userDrawn="1"/>
        </p:nvSpPr>
        <p:spPr bwMode="auto">
          <a:xfrm>
            <a:off x="5410916" y="1906516"/>
            <a:ext cx="310086" cy="317822"/>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0" name="Freeform 1437"/>
          <p:cNvSpPr>
            <a:spLocks/>
          </p:cNvSpPr>
          <p:nvPr userDrawn="1"/>
        </p:nvSpPr>
        <p:spPr bwMode="auto">
          <a:xfrm>
            <a:off x="5385227" y="2358264"/>
            <a:ext cx="16514" cy="31982"/>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1" name="Freeform 1438"/>
          <p:cNvSpPr>
            <a:spLocks/>
          </p:cNvSpPr>
          <p:nvPr userDrawn="1"/>
        </p:nvSpPr>
        <p:spPr bwMode="auto">
          <a:xfrm>
            <a:off x="7131984" y="2276311"/>
            <a:ext cx="31192" cy="25985"/>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2" name="Freeform 1439"/>
          <p:cNvSpPr>
            <a:spLocks/>
          </p:cNvSpPr>
          <p:nvPr userDrawn="1"/>
        </p:nvSpPr>
        <p:spPr bwMode="auto">
          <a:xfrm>
            <a:off x="5509996" y="2420229"/>
            <a:ext cx="40366" cy="49972"/>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3" name="Freeform 1440"/>
          <p:cNvSpPr>
            <a:spLocks/>
          </p:cNvSpPr>
          <p:nvPr userDrawn="1"/>
        </p:nvSpPr>
        <p:spPr bwMode="auto">
          <a:xfrm>
            <a:off x="6199890" y="1568704"/>
            <a:ext cx="148621" cy="149916"/>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4" name="Freeform 1441"/>
          <p:cNvSpPr>
            <a:spLocks/>
          </p:cNvSpPr>
          <p:nvPr userDrawn="1"/>
        </p:nvSpPr>
        <p:spPr bwMode="auto">
          <a:xfrm>
            <a:off x="7922794" y="2344271"/>
            <a:ext cx="80732" cy="49972"/>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5" name="Freeform 1442"/>
          <p:cNvSpPr>
            <a:spLocks/>
          </p:cNvSpPr>
          <p:nvPr userDrawn="1"/>
        </p:nvSpPr>
        <p:spPr bwMode="auto">
          <a:xfrm>
            <a:off x="4884320" y="1830558"/>
            <a:ext cx="3277002" cy="1800994"/>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6" name="Freeform 1443"/>
          <p:cNvSpPr>
            <a:spLocks/>
          </p:cNvSpPr>
          <p:nvPr userDrawn="1"/>
        </p:nvSpPr>
        <p:spPr bwMode="auto">
          <a:xfrm>
            <a:off x="4724689" y="3147823"/>
            <a:ext cx="66054" cy="53970"/>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7" name="Freeform 1444"/>
          <p:cNvSpPr>
            <a:spLocks/>
          </p:cNvSpPr>
          <p:nvPr userDrawn="1"/>
        </p:nvSpPr>
        <p:spPr bwMode="auto">
          <a:xfrm>
            <a:off x="7185193" y="3201793"/>
            <a:ext cx="62383" cy="287839"/>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8" name="Freeform 1447"/>
          <p:cNvSpPr>
            <a:spLocks/>
          </p:cNvSpPr>
          <p:nvPr userDrawn="1"/>
        </p:nvSpPr>
        <p:spPr bwMode="auto">
          <a:xfrm>
            <a:off x="7243851" y="5591958"/>
            <a:ext cx="73387" cy="85955"/>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9" name="Freeform 1448"/>
          <p:cNvSpPr>
            <a:spLocks/>
          </p:cNvSpPr>
          <p:nvPr userDrawn="1"/>
        </p:nvSpPr>
        <p:spPr bwMode="auto">
          <a:xfrm>
            <a:off x="6607211" y="4854339"/>
            <a:ext cx="814606" cy="693640"/>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0" name="Freeform 1450"/>
          <p:cNvSpPr>
            <a:spLocks/>
          </p:cNvSpPr>
          <p:nvPr userDrawn="1"/>
        </p:nvSpPr>
        <p:spPr bwMode="auto">
          <a:xfrm>
            <a:off x="7680509" y="5589959"/>
            <a:ext cx="155949" cy="183904"/>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1" name="Freeform 1451"/>
          <p:cNvSpPr>
            <a:spLocks/>
          </p:cNvSpPr>
          <p:nvPr userDrawn="1"/>
        </p:nvSpPr>
        <p:spPr bwMode="auto">
          <a:xfrm>
            <a:off x="7805268" y="5420048"/>
            <a:ext cx="115586" cy="197897"/>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2" name="Freeform 1452"/>
          <p:cNvSpPr>
            <a:spLocks/>
          </p:cNvSpPr>
          <p:nvPr userDrawn="1"/>
        </p:nvSpPr>
        <p:spPr bwMode="auto">
          <a:xfrm>
            <a:off x="7629138" y="5070228"/>
            <a:ext cx="58710" cy="51973"/>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3" name="Freeform 1454"/>
          <p:cNvSpPr>
            <a:spLocks/>
          </p:cNvSpPr>
          <p:nvPr userDrawn="1"/>
        </p:nvSpPr>
        <p:spPr bwMode="auto">
          <a:xfrm>
            <a:off x="5134927" y="3561323"/>
            <a:ext cx="135724" cy="71945"/>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4" name="Freeform 1455"/>
          <p:cNvSpPr>
            <a:spLocks/>
          </p:cNvSpPr>
          <p:nvPr userDrawn="1"/>
        </p:nvSpPr>
        <p:spPr bwMode="auto">
          <a:xfrm>
            <a:off x="5268817" y="3159628"/>
            <a:ext cx="818012" cy="475639"/>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5" name="Freeform 1456"/>
          <p:cNvSpPr>
            <a:spLocks/>
          </p:cNvSpPr>
          <p:nvPr userDrawn="1"/>
        </p:nvSpPr>
        <p:spPr bwMode="auto">
          <a:xfrm>
            <a:off x="5459563" y="3499369"/>
            <a:ext cx="344812" cy="243815"/>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6" name="Freeform 1457"/>
          <p:cNvSpPr>
            <a:spLocks/>
          </p:cNvSpPr>
          <p:nvPr userDrawn="1"/>
        </p:nvSpPr>
        <p:spPr bwMode="auto">
          <a:xfrm>
            <a:off x="5388034" y="3583305"/>
            <a:ext cx="286122" cy="215836"/>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7" name="Freeform 1458"/>
          <p:cNvSpPr>
            <a:spLocks/>
          </p:cNvSpPr>
          <p:nvPr userDrawn="1"/>
        </p:nvSpPr>
        <p:spPr bwMode="auto">
          <a:xfrm>
            <a:off x="5725511" y="3571315"/>
            <a:ext cx="221927" cy="115912"/>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8" name="Freeform 1459"/>
          <p:cNvSpPr>
            <a:spLocks/>
          </p:cNvSpPr>
          <p:nvPr userDrawn="1"/>
        </p:nvSpPr>
        <p:spPr bwMode="auto">
          <a:xfrm>
            <a:off x="5688829" y="3635267"/>
            <a:ext cx="152231" cy="123907"/>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9" name="Freeform 1460"/>
          <p:cNvSpPr>
            <a:spLocks/>
          </p:cNvSpPr>
          <p:nvPr userDrawn="1"/>
        </p:nvSpPr>
        <p:spPr bwMode="auto">
          <a:xfrm>
            <a:off x="5206457" y="3627273"/>
            <a:ext cx="62360" cy="69947"/>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0" name="Freeform 1462"/>
          <p:cNvSpPr>
            <a:spLocks/>
          </p:cNvSpPr>
          <p:nvPr userDrawn="1"/>
        </p:nvSpPr>
        <p:spPr bwMode="auto">
          <a:xfrm>
            <a:off x="5233969" y="3673237"/>
            <a:ext cx="23843" cy="2398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1" name="Freeform 1463"/>
          <p:cNvSpPr>
            <a:spLocks/>
          </p:cNvSpPr>
          <p:nvPr userDrawn="1"/>
        </p:nvSpPr>
        <p:spPr bwMode="auto">
          <a:xfrm>
            <a:off x="5237636" y="3611285"/>
            <a:ext cx="108212" cy="97925"/>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2" name="Freeform 1465"/>
          <p:cNvSpPr>
            <a:spLocks/>
          </p:cNvSpPr>
          <p:nvPr userDrawn="1"/>
        </p:nvSpPr>
        <p:spPr bwMode="auto">
          <a:xfrm>
            <a:off x="5760359" y="3661247"/>
            <a:ext cx="5502" cy="7995"/>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3" name="Freeform 1466"/>
          <p:cNvSpPr>
            <a:spLocks/>
          </p:cNvSpPr>
          <p:nvPr userDrawn="1"/>
        </p:nvSpPr>
        <p:spPr bwMode="auto">
          <a:xfrm>
            <a:off x="5773197" y="3665245"/>
            <a:ext cx="5502" cy="3997"/>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4" name="Freeform 1467"/>
          <p:cNvSpPr>
            <a:spLocks/>
          </p:cNvSpPr>
          <p:nvPr userDrawn="1"/>
        </p:nvSpPr>
        <p:spPr bwMode="auto">
          <a:xfrm>
            <a:off x="5751188" y="3669241"/>
            <a:ext cx="3668" cy="3997"/>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5" name="Freeform 1468"/>
          <p:cNvSpPr>
            <a:spLocks/>
          </p:cNvSpPr>
          <p:nvPr userDrawn="1"/>
        </p:nvSpPr>
        <p:spPr bwMode="auto">
          <a:xfrm>
            <a:off x="5411879" y="4074934"/>
            <a:ext cx="5502" cy="3997"/>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46" name="Group 1469"/>
          <p:cNvGrpSpPr>
            <a:grpSpLocks/>
          </p:cNvGrpSpPr>
          <p:nvPr userDrawn="1"/>
        </p:nvGrpSpPr>
        <p:grpSpPr bwMode="auto">
          <a:xfrm>
            <a:off x="5378864" y="4024972"/>
            <a:ext cx="155899" cy="227827"/>
            <a:chOff x="3328" y="2264"/>
            <a:chExt cx="85" cy="114"/>
          </a:xfrm>
          <a:solidFill>
            <a:schemeClr val="bg1">
              <a:lumMod val="75000"/>
            </a:schemeClr>
          </a:solidFill>
        </p:grpSpPr>
        <p:sp>
          <p:nvSpPr>
            <p:cNvPr id="547" name="Freeform 1470"/>
            <p:cNvSpPr>
              <a:spLocks/>
            </p:cNvSpPr>
            <p:nvPr/>
          </p:nvSpPr>
          <p:spPr bwMode="auto">
            <a:xfrm>
              <a:off x="3372" y="2264"/>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8" name="Freeform 1471"/>
            <p:cNvSpPr>
              <a:spLocks/>
            </p:cNvSpPr>
            <p:nvPr/>
          </p:nvSpPr>
          <p:spPr bwMode="auto">
            <a:xfrm>
              <a:off x="3328" y="2282"/>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49" name="Freeform 1472"/>
          <p:cNvSpPr>
            <a:spLocks/>
          </p:cNvSpPr>
          <p:nvPr userDrawn="1"/>
        </p:nvSpPr>
        <p:spPr bwMode="auto">
          <a:xfrm>
            <a:off x="5035885" y="3811134"/>
            <a:ext cx="34848" cy="45965"/>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0" name="Freeform 1473"/>
          <p:cNvSpPr>
            <a:spLocks/>
          </p:cNvSpPr>
          <p:nvPr userDrawn="1"/>
        </p:nvSpPr>
        <p:spPr bwMode="auto">
          <a:xfrm>
            <a:off x="5347684" y="4026969"/>
            <a:ext cx="1834" cy="5995"/>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51" name="Group 1474"/>
          <p:cNvGrpSpPr>
            <a:grpSpLocks/>
          </p:cNvGrpSpPr>
          <p:nvPr userDrawn="1"/>
        </p:nvGrpSpPr>
        <p:grpSpPr bwMode="auto">
          <a:xfrm>
            <a:off x="5221130" y="3671240"/>
            <a:ext cx="385163" cy="383709"/>
            <a:chOff x="3242" y="2087"/>
            <a:chExt cx="210" cy="192"/>
          </a:xfrm>
          <a:solidFill>
            <a:schemeClr val="bg1">
              <a:lumMod val="75000"/>
            </a:schemeClr>
          </a:solidFill>
        </p:grpSpPr>
        <p:sp>
          <p:nvSpPr>
            <p:cNvPr id="552" name="Freeform 1475"/>
            <p:cNvSpPr>
              <a:spLocks/>
            </p:cNvSpPr>
            <p:nvPr/>
          </p:nvSpPr>
          <p:spPr bwMode="auto">
            <a:xfrm>
              <a:off x="3364" y="2257"/>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3" name="Freeform 1476"/>
            <p:cNvSpPr>
              <a:spLocks/>
            </p:cNvSpPr>
            <p:nvPr/>
          </p:nvSpPr>
          <p:spPr bwMode="auto">
            <a:xfrm>
              <a:off x="3242" y="2087"/>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554" name="Group 1477"/>
          <p:cNvGrpSpPr>
            <a:grpSpLocks/>
          </p:cNvGrpSpPr>
          <p:nvPr userDrawn="1"/>
        </p:nvGrpSpPr>
        <p:grpSpPr bwMode="auto">
          <a:xfrm>
            <a:off x="5017544" y="3849104"/>
            <a:ext cx="31180" cy="101922"/>
            <a:chOff x="3131" y="2176"/>
            <a:chExt cx="17" cy="51"/>
          </a:xfrm>
          <a:solidFill>
            <a:schemeClr val="bg1">
              <a:lumMod val="75000"/>
            </a:schemeClr>
          </a:solidFill>
        </p:grpSpPr>
        <p:sp>
          <p:nvSpPr>
            <p:cNvPr id="555" name="Freeform 1478"/>
            <p:cNvSpPr>
              <a:spLocks/>
            </p:cNvSpPr>
            <p:nvPr/>
          </p:nvSpPr>
          <p:spPr bwMode="auto">
            <a:xfrm>
              <a:off x="3139" y="2186"/>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6" name="Freeform 1479"/>
            <p:cNvSpPr>
              <a:spLocks/>
            </p:cNvSpPr>
            <p:nvPr/>
          </p:nvSpPr>
          <p:spPr bwMode="auto">
            <a:xfrm>
              <a:off x="3131" y="2199"/>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7" name="Freeform 1480"/>
            <p:cNvSpPr>
              <a:spLocks/>
            </p:cNvSpPr>
            <p:nvPr/>
          </p:nvSpPr>
          <p:spPr bwMode="auto">
            <a:xfrm>
              <a:off x="3132" y="2176"/>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58" name="Freeform 1481"/>
          <p:cNvSpPr>
            <a:spLocks/>
          </p:cNvSpPr>
          <p:nvPr userDrawn="1"/>
        </p:nvSpPr>
        <p:spPr bwMode="auto">
          <a:xfrm>
            <a:off x="5112918" y="3737188"/>
            <a:ext cx="196250" cy="217834"/>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9" name="Freeform 1482"/>
          <p:cNvSpPr>
            <a:spLocks/>
          </p:cNvSpPr>
          <p:nvPr userDrawn="1"/>
        </p:nvSpPr>
        <p:spPr bwMode="auto">
          <a:xfrm>
            <a:off x="5353187" y="4028967"/>
            <a:ext cx="16507" cy="3997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0" name="Freeform 1483"/>
          <p:cNvSpPr>
            <a:spLocks/>
          </p:cNvSpPr>
          <p:nvPr userDrawn="1"/>
        </p:nvSpPr>
        <p:spPr bwMode="auto">
          <a:xfrm>
            <a:off x="5270651" y="3933041"/>
            <a:ext cx="34848" cy="37971"/>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1" name="Freeform 1484"/>
          <p:cNvSpPr>
            <a:spLocks/>
          </p:cNvSpPr>
          <p:nvPr userDrawn="1"/>
        </p:nvSpPr>
        <p:spPr bwMode="auto">
          <a:xfrm>
            <a:off x="5358689" y="4030967"/>
            <a:ext cx="106378" cy="85935"/>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2" name="Freeform 1485"/>
          <p:cNvSpPr>
            <a:spLocks/>
          </p:cNvSpPr>
          <p:nvPr userDrawn="1"/>
        </p:nvSpPr>
        <p:spPr bwMode="auto">
          <a:xfrm>
            <a:off x="5189950" y="4198840"/>
            <a:ext cx="209088" cy="143891"/>
          </a:xfrm>
          <a:custGeom>
            <a:avLst/>
            <a:gdLst/>
            <a:ahLst/>
            <a:cxnLst>
              <a:cxn ang="0">
                <a:pos x="551" y="145"/>
              </a:cxn>
              <a:cxn ang="0">
                <a:pos x="533" y="162"/>
              </a:cxn>
              <a:cxn ang="0">
                <a:pos x="528" y="183"/>
              </a:cxn>
              <a:cxn ang="0">
                <a:pos x="529" y="193"/>
              </a:cxn>
              <a:cxn ang="0">
                <a:pos x="523" y="198"/>
              </a:cxn>
              <a:cxn ang="0">
                <a:pos x="510" y="199"/>
              </a:cxn>
              <a:cxn ang="0">
                <a:pos x="486" y="212"/>
              </a:cxn>
              <a:cxn ang="0">
                <a:pos x="461" y="220"/>
              </a:cxn>
              <a:cxn ang="0">
                <a:pos x="437" y="228"/>
              </a:cxn>
              <a:cxn ang="0">
                <a:pos x="408" y="239"/>
              </a:cxn>
              <a:cxn ang="0">
                <a:pos x="381" y="243"/>
              </a:cxn>
              <a:cxn ang="0">
                <a:pos x="354" y="256"/>
              </a:cxn>
              <a:cxn ang="0">
                <a:pos x="346" y="271"/>
              </a:cxn>
              <a:cxn ang="0">
                <a:pos x="330" y="285"/>
              </a:cxn>
              <a:cxn ang="0">
                <a:pos x="324" y="288"/>
              </a:cxn>
              <a:cxn ang="0">
                <a:pos x="285" y="290"/>
              </a:cxn>
              <a:cxn ang="0">
                <a:pos x="269" y="303"/>
              </a:cxn>
              <a:cxn ang="0">
                <a:pos x="247" y="314"/>
              </a:cxn>
              <a:cxn ang="0">
                <a:pos x="217" y="320"/>
              </a:cxn>
              <a:cxn ang="0">
                <a:pos x="194" y="319"/>
              </a:cxn>
              <a:cxn ang="0">
                <a:pos x="173" y="320"/>
              </a:cxn>
              <a:cxn ang="0">
                <a:pos x="156" y="339"/>
              </a:cxn>
              <a:cxn ang="0">
                <a:pos x="124" y="356"/>
              </a:cxn>
              <a:cxn ang="0">
                <a:pos x="86" y="361"/>
              </a:cxn>
              <a:cxn ang="0">
                <a:pos x="70" y="362"/>
              </a:cxn>
              <a:cxn ang="0">
                <a:pos x="48" y="357"/>
              </a:cxn>
              <a:cxn ang="0">
                <a:pos x="32" y="330"/>
              </a:cxn>
              <a:cxn ang="0">
                <a:pos x="31" y="295"/>
              </a:cxn>
              <a:cxn ang="0">
                <a:pos x="23" y="282"/>
              </a:cxn>
              <a:cxn ang="0">
                <a:pos x="17" y="247"/>
              </a:cxn>
              <a:cxn ang="0">
                <a:pos x="11" y="234"/>
              </a:cxn>
              <a:cxn ang="0">
                <a:pos x="2" y="215"/>
              </a:cxn>
              <a:cxn ang="0">
                <a:pos x="2" y="210"/>
              </a:cxn>
              <a:cxn ang="0">
                <a:pos x="5" y="206"/>
              </a:cxn>
              <a:cxn ang="0">
                <a:pos x="2" y="193"/>
              </a:cxn>
              <a:cxn ang="0">
                <a:pos x="7" y="183"/>
              </a:cxn>
              <a:cxn ang="0">
                <a:pos x="7" y="162"/>
              </a:cxn>
              <a:cxn ang="0">
                <a:pos x="4" y="148"/>
              </a:cxn>
              <a:cxn ang="0">
                <a:pos x="20" y="139"/>
              </a:cxn>
              <a:cxn ang="0">
                <a:pos x="27" y="126"/>
              </a:cxn>
              <a:cxn ang="0">
                <a:pos x="39" y="116"/>
              </a:cxn>
              <a:cxn ang="0">
                <a:pos x="66" y="110"/>
              </a:cxn>
              <a:cxn ang="0">
                <a:pos x="201" y="132"/>
              </a:cxn>
              <a:cxn ang="0">
                <a:pos x="339" y="40"/>
              </a:cxn>
              <a:cxn ang="0">
                <a:pos x="570" y="137"/>
              </a:cxn>
            </a:cxnLst>
            <a:rect l="0" t="0" r="r" b="b"/>
            <a:pathLst>
              <a:path w="570" h="362">
                <a:moveTo>
                  <a:pt x="570" y="137"/>
                </a:moveTo>
                <a:lnTo>
                  <a:pt x="551" y="145"/>
                </a:lnTo>
                <a:lnTo>
                  <a:pt x="540" y="153"/>
                </a:lnTo>
                <a:lnTo>
                  <a:pt x="533" y="162"/>
                </a:lnTo>
                <a:lnTo>
                  <a:pt x="526" y="177"/>
                </a:lnTo>
                <a:lnTo>
                  <a:pt x="528" y="183"/>
                </a:lnTo>
                <a:lnTo>
                  <a:pt x="529" y="191"/>
                </a:lnTo>
                <a:lnTo>
                  <a:pt x="529" y="193"/>
                </a:lnTo>
                <a:lnTo>
                  <a:pt x="526" y="195"/>
                </a:lnTo>
                <a:lnTo>
                  <a:pt x="523" y="198"/>
                </a:lnTo>
                <a:lnTo>
                  <a:pt x="516" y="196"/>
                </a:lnTo>
                <a:lnTo>
                  <a:pt x="510" y="199"/>
                </a:lnTo>
                <a:lnTo>
                  <a:pt x="496" y="202"/>
                </a:lnTo>
                <a:lnTo>
                  <a:pt x="486" y="212"/>
                </a:lnTo>
                <a:lnTo>
                  <a:pt x="475" y="217"/>
                </a:lnTo>
                <a:lnTo>
                  <a:pt x="461" y="220"/>
                </a:lnTo>
                <a:lnTo>
                  <a:pt x="451" y="221"/>
                </a:lnTo>
                <a:lnTo>
                  <a:pt x="437" y="228"/>
                </a:lnTo>
                <a:lnTo>
                  <a:pt x="427" y="231"/>
                </a:lnTo>
                <a:lnTo>
                  <a:pt x="408" y="239"/>
                </a:lnTo>
                <a:lnTo>
                  <a:pt x="398" y="241"/>
                </a:lnTo>
                <a:lnTo>
                  <a:pt x="381" y="243"/>
                </a:lnTo>
                <a:lnTo>
                  <a:pt x="364" y="252"/>
                </a:lnTo>
                <a:lnTo>
                  <a:pt x="354" y="256"/>
                </a:lnTo>
                <a:lnTo>
                  <a:pt x="351" y="264"/>
                </a:lnTo>
                <a:lnTo>
                  <a:pt x="346" y="271"/>
                </a:lnTo>
                <a:lnTo>
                  <a:pt x="335" y="281"/>
                </a:lnTo>
                <a:lnTo>
                  <a:pt x="330" y="285"/>
                </a:lnTo>
                <a:lnTo>
                  <a:pt x="328" y="287"/>
                </a:lnTo>
                <a:lnTo>
                  <a:pt x="324" y="288"/>
                </a:lnTo>
                <a:lnTo>
                  <a:pt x="298" y="287"/>
                </a:lnTo>
                <a:lnTo>
                  <a:pt x="285" y="290"/>
                </a:lnTo>
                <a:lnTo>
                  <a:pt x="274" y="297"/>
                </a:lnTo>
                <a:lnTo>
                  <a:pt x="269" y="303"/>
                </a:lnTo>
                <a:lnTo>
                  <a:pt x="253" y="313"/>
                </a:lnTo>
                <a:lnTo>
                  <a:pt x="247" y="314"/>
                </a:lnTo>
                <a:lnTo>
                  <a:pt x="227" y="319"/>
                </a:lnTo>
                <a:lnTo>
                  <a:pt x="217" y="320"/>
                </a:lnTo>
                <a:lnTo>
                  <a:pt x="206" y="318"/>
                </a:lnTo>
                <a:lnTo>
                  <a:pt x="194" y="319"/>
                </a:lnTo>
                <a:lnTo>
                  <a:pt x="185" y="319"/>
                </a:lnTo>
                <a:lnTo>
                  <a:pt x="173" y="320"/>
                </a:lnTo>
                <a:lnTo>
                  <a:pt x="163" y="327"/>
                </a:lnTo>
                <a:lnTo>
                  <a:pt x="156" y="339"/>
                </a:lnTo>
                <a:lnTo>
                  <a:pt x="134" y="350"/>
                </a:lnTo>
                <a:lnTo>
                  <a:pt x="124" y="356"/>
                </a:lnTo>
                <a:lnTo>
                  <a:pt x="101" y="356"/>
                </a:lnTo>
                <a:lnTo>
                  <a:pt x="86" y="361"/>
                </a:lnTo>
                <a:lnTo>
                  <a:pt x="77" y="360"/>
                </a:lnTo>
                <a:lnTo>
                  <a:pt x="70" y="362"/>
                </a:lnTo>
                <a:lnTo>
                  <a:pt x="60" y="357"/>
                </a:lnTo>
                <a:lnTo>
                  <a:pt x="48" y="357"/>
                </a:lnTo>
                <a:lnTo>
                  <a:pt x="43" y="344"/>
                </a:lnTo>
                <a:lnTo>
                  <a:pt x="32" y="330"/>
                </a:lnTo>
                <a:lnTo>
                  <a:pt x="32" y="304"/>
                </a:lnTo>
                <a:lnTo>
                  <a:pt x="31" y="295"/>
                </a:lnTo>
                <a:lnTo>
                  <a:pt x="26" y="290"/>
                </a:lnTo>
                <a:lnTo>
                  <a:pt x="23" y="282"/>
                </a:lnTo>
                <a:lnTo>
                  <a:pt x="20" y="266"/>
                </a:lnTo>
                <a:lnTo>
                  <a:pt x="17" y="247"/>
                </a:lnTo>
                <a:lnTo>
                  <a:pt x="15" y="239"/>
                </a:lnTo>
                <a:lnTo>
                  <a:pt x="11" y="234"/>
                </a:lnTo>
                <a:lnTo>
                  <a:pt x="11" y="226"/>
                </a:lnTo>
                <a:lnTo>
                  <a:pt x="2" y="215"/>
                </a:lnTo>
                <a:lnTo>
                  <a:pt x="0" y="211"/>
                </a:lnTo>
                <a:lnTo>
                  <a:pt x="2" y="210"/>
                </a:lnTo>
                <a:lnTo>
                  <a:pt x="5" y="210"/>
                </a:lnTo>
                <a:lnTo>
                  <a:pt x="5" y="206"/>
                </a:lnTo>
                <a:lnTo>
                  <a:pt x="2" y="202"/>
                </a:lnTo>
                <a:lnTo>
                  <a:pt x="2" y="193"/>
                </a:lnTo>
                <a:lnTo>
                  <a:pt x="1" y="188"/>
                </a:lnTo>
                <a:lnTo>
                  <a:pt x="7" y="183"/>
                </a:lnTo>
                <a:lnTo>
                  <a:pt x="9" y="178"/>
                </a:lnTo>
                <a:lnTo>
                  <a:pt x="7" y="162"/>
                </a:lnTo>
                <a:lnTo>
                  <a:pt x="5" y="151"/>
                </a:lnTo>
                <a:lnTo>
                  <a:pt x="4" y="148"/>
                </a:lnTo>
                <a:lnTo>
                  <a:pt x="15" y="143"/>
                </a:lnTo>
                <a:lnTo>
                  <a:pt x="20" y="139"/>
                </a:lnTo>
                <a:lnTo>
                  <a:pt x="21" y="131"/>
                </a:lnTo>
                <a:lnTo>
                  <a:pt x="27" y="126"/>
                </a:lnTo>
                <a:lnTo>
                  <a:pt x="36" y="123"/>
                </a:lnTo>
                <a:lnTo>
                  <a:pt x="39" y="116"/>
                </a:lnTo>
                <a:lnTo>
                  <a:pt x="44" y="112"/>
                </a:lnTo>
                <a:lnTo>
                  <a:pt x="66" y="110"/>
                </a:lnTo>
                <a:lnTo>
                  <a:pt x="101" y="98"/>
                </a:lnTo>
                <a:lnTo>
                  <a:pt x="201" y="132"/>
                </a:lnTo>
                <a:lnTo>
                  <a:pt x="201" y="194"/>
                </a:lnTo>
                <a:lnTo>
                  <a:pt x="339" y="40"/>
                </a:lnTo>
                <a:lnTo>
                  <a:pt x="513" y="0"/>
                </a:lnTo>
                <a:lnTo>
                  <a:pt x="570" y="1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63" name="Group 1486"/>
          <p:cNvGrpSpPr>
            <a:grpSpLocks/>
          </p:cNvGrpSpPr>
          <p:nvPr userDrawn="1"/>
        </p:nvGrpSpPr>
        <p:grpSpPr bwMode="auto">
          <a:xfrm>
            <a:off x="4857966" y="3605290"/>
            <a:ext cx="375991" cy="175867"/>
            <a:chOff x="3044" y="2054"/>
            <a:chExt cx="205" cy="88"/>
          </a:xfrm>
          <a:solidFill>
            <a:schemeClr val="bg1">
              <a:lumMod val="75000"/>
            </a:schemeClr>
          </a:solidFill>
        </p:grpSpPr>
        <p:sp>
          <p:nvSpPr>
            <p:cNvPr id="564" name="Freeform 1487"/>
            <p:cNvSpPr>
              <a:spLocks/>
            </p:cNvSpPr>
            <p:nvPr/>
          </p:nvSpPr>
          <p:spPr bwMode="auto">
            <a:xfrm>
              <a:off x="3045" y="2054"/>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5" name="Freeform 1488"/>
            <p:cNvSpPr>
              <a:spLocks/>
            </p:cNvSpPr>
            <p:nvPr/>
          </p:nvSpPr>
          <p:spPr bwMode="auto">
            <a:xfrm>
              <a:off x="3044" y="2055"/>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66" name="Freeform 1489"/>
          <p:cNvSpPr>
            <a:spLocks/>
          </p:cNvSpPr>
          <p:nvPr userDrawn="1"/>
        </p:nvSpPr>
        <p:spPr bwMode="auto">
          <a:xfrm>
            <a:off x="5034051" y="3847105"/>
            <a:ext cx="86203" cy="107918"/>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7" name="Freeform 1490"/>
          <p:cNvSpPr>
            <a:spLocks/>
          </p:cNvSpPr>
          <p:nvPr userDrawn="1"/>
        </p:nvSpPr>
        <p:spPr bwMode="auto">
          <a:xfrm>
            <a:off x="5046890" y="3741186"/>
            <a:ext cx="141226" cy="133899"/>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8" name="Freeform 1491"/>
          <p:cNvSpPr>
            <a:spLocks/>
          </p:cNvSpPr>
          <p:nvPr userDrawn="1"/>
        </p:nvSpPr>
        <p:spPr bwMode="auto">
          <a:xfrm>
            <a:off x="5028549" y="3877082"/>
            <a:ext cx="423679" cy="399697"/>
          </a:xfrm>
          <a:custGeom>
            <a:avLst/>
            <a:gdLst/>
            <a:ahLst/>
            <a:cxnLst>
              <a:cxn ang="0">
                <a:pos x="684" y="202"/>
              </a:cxn>
              <a:cxn ang="0">
                <a:pos x="721" y="231"/>
              </a:cxn>
              <a:cxn ang="0">
                <a:pos x="762" y="247"/>
              </a:cxn>
              <a:cxn ang="0">
                <a:pos x="776" y="275"/>
              </a:cxn>
              <a:cxn ang="0">
                <a:pos x="805" y="299"/>
              </a:cxn>
              <a:cxn ang="0">
                <a:pos x="805" y="308"/>
              </a:cxn>
              <a:cxn ang="0">
                <a:pos x="820" y="324"/>
              </a:cxn>
              <a:cxn ang="0">
                <a:pos x="846" y="345"/>
              </a:cxn>
              <a:cxn ang="0">
                <a:pos x="854" y="368"/>
              </a:cxn>
              <a:cxn ang="0">
                <a:pos x="850" y="387"/>
              </a:cxn>
              <a:cxn ang="0">
                <a:pos x="872" y="425"/>
              </a:cxn>
              <a:cxn ang="0">
                <a:pos x="881" y="455"/>
              </a:cxn>
              <a:cxn ang="0">
                <a:pos x="888" y="463"/>
              </a:cxn>
              <a:cxn ang="0">
                <a:pos x="905" y="491"/>
              </a:cxn>
              <a:cxn ang="0">
                <a:pos x="1119" y="599"/>
              </a:cxn>
              <a:cxn ang="0">
                <a:pos x="1119" y="744"/>
              </a:cxn>
              <a:cxn ang="0">
                <a:pos x="642" y="996"/>
              </a:cxn>
              <a:cxn ang="0">
                <a:pos x="507" y="912"/>
              </a:cxn>
              <a:cxn ang="0">
                <a:pos x="477" y="925"/>
              </a:cxn>
              <a:cxn ang="0">
                <a:pos x="461" y="941"/>
              </a:cxn>
              <a:cxn ang="0">
                <a:pos x="442" y="944"/>
              </a:cxn>
              <a:cxn ang="0">
                <a:pos x="426" y="911"/>
              </a:cxn>
              <a:cxn ang="0">
                <a:pos x="399" y="869"/>
              </a:cxn>
              <a:cxn ang="0">
                <a:pos x="376" y="844"/>
              </a:cxn>
              <a:cxn ang="0">
                <a:pos x="359" y="815"/>
              </a:cxn>
              <a:cxn ang="0">
                <a:pos x="351" y="783"/>
              </a:cxn>
              <a:cxn ang="0">
                <a:pos x="335" y="760"/>
              </a:cxn>
              <a:cxn ang="0">
                <a:pos x="317" y="739"/>
              </a:cxn>
              <a:cxn ang="0">
                <a:pos x="291" y="726"/>
              </a:cxn>
              <a:cxn ang="0">
                <a:pos x="264" y="708"/>
              </a:cxn>
              <a:cxn ang="0">
                <a:pos x="251" y="680"/>
              </a:cxn>
              <a:cxn ang="0">
                <a:pos x="239" y="627"/>
              </a:cxn>
              <a:cxn ang="0">
                <a:pos x="246" y="604"/>
              </a:cxn>
              <a:cxn ang="0">
                <a:pos x="233" y="578"/>
              </a:cxn>
              <a:cxn ang="0">
                <a:pos x="225" y="554"/>
              </a:cxn>
              <a:cxn ang="0">
                <a:pos x="193" y="506"/>
              </a:cxn>
              <a:cxn ang="0">
                <a:pos x="178" y="496"/>
              </a:cxn>
              <a:cxn ang="0">
                <a:pos x="162" y="489"/>
              </a:cxn>
              <a:cxn ang="0">
                <a:pos x="153" y="481"/>
              </a:cxn>
              <a:cxn ang="0">
                <a:pos x="141" y="455"/>
              </a:cxn>
              <a:cxn ang="0">
                <a:pos x="128" y="416"/>
              </a:cxn>
              <a:cxn ang="0">
                <a:pos x="109" y="395"/>
              </a:cxn>
              <a:cxn ang="0">
                <a:pos x="87" y="350"/>
              </a:cxn>
              <a:cxn ang="0">
                <a:pos x="61" y="319"/>
              </a:cxn>
              <a:cxn ang="0">
                <a:pos x="45" y="288"/>
              </a:cxn>
              <a:cxn ang="0">
                <a:pos x="17" y="259"/>
              </a:cxn>
              <a:cxn ang="0">
                <a:pos x="2" y="258"/>
              </a:cxn>
              <a:cxn ang="0">
                <a:pos x="12" y="211"/>
              </a:cxn>
              <a:cxn ang="0">
                <a:pos x="17" y="178"/>
              </a:cxn>
              <a:cxn ang="0">
                <a:pos x="98" y="177"/>
              </a:cxn>
              <a:cxn ang="0">
                <a:pos x="156" y="142"/>
              </a:cxn>
              <a:cxn ang="0">
                <a:pos x="185" y="104"/>
              </a:cxn>
              <a:cxn ang="0">
                <a:pos x="125" y="43"/>
              </a:cxn>
              <a:cxn ang="0">
                <a:pos x="248" y="0"/>
              </a:cxn>
              <a:cxn ang="0">
                <a:pos x="450" y="91"/>
              </a:cxn>
              <a:cxn ang="0">
                <a:pos x="493" y="116"/>
              </a:cxn>
              <a:cxn ang="0">
                <a:pos x="497" y="162"/>
              </a:cxn>
            </a:cxnLst>
            <a:rect l="0" t="0" r="r" b="b"/>
            <a:pathLst>
              <a:path w="1157" h="996">
                <a:moveTo>
                  <a:pt x="658" y="195"/>
                </a:moveTo>
                <a:lnTo>
                  <a:pt x="662" y="197"/>
                </a:lnTo>
                <a:lnTo>
                  <a:pt x="684" y="202"/>
                </a:lnTo>
                <a:lnTo>
                  <a:pt x="704" y="209"/>
                </a:lnTo>
                <a:lnTo>
                  <a:pt x="711" y="216"/>
                </a:lnTo>
                <a:lnTo>
                  <a:pt x="721" y="231"/>
                </a:lnTo>
                <a:lnTo>
                  <a:pt x="754" y="231"/>
                </a:lnTo>
                <a:lnTo>
                  <a:pt x="758" y="237"/>
                </a:lnTo>
                <a:lnTo>
                  <a:pt x="762" y="247"/>
                </a:lnTo>
                <a:lnTo>
                  <a:pt x="765" y="251"/>
                </a:lnTo>
                <a:lnTo>
                  <a:pt x="766" y="259"/>
                </a:lnTo>
                <a:lnTo>
                  <a:pt x="776" y="275"/>
                </a:lnTo>
                <a:lnTo>
                  <a:pt x="785" y="277"/>
                </a:lnTo>
                <a:lnTo>
                  <a:pt x="791" y="290"/>
                </a:lnTo>
                <a:lnTo>
                  <a:pt x="805" y="299"/>
                </a:lnTo>
                <a:lnTo>
                  <a:pt x="805" y="301"/>
                </a:lnTo>
                <a:lnTo>
                  <a:pt x="802" y="304"/>
                </a:lnTo>
                <a:lnTo>
                  <a:pt x="805" y="308"/>
                </a:lnTo>
                <a:lnTo>
                  <a:pt x="807" y="318"/>
                </a:lnTo>
                <a:lnTo>
                  <a:pt x="817" y="320"/>
                </a:lnTo>
                <a:lnTo>
                  <a:pt x="820" y="324"/>
                </a:lnTo>
                <a:lnTo>
                  <a:pt x="836" y="335"/>
                </a:lnTo>
                <a:lnTo>
                  <a:pt x="843" y="339"/>
                </a:lnTo>
                <a:lnTo>
                  <a:pt x="846" y="345"/>
                </a:lnTo>
                <a:lnTo>
                  <a:pt x="848" y="347"/>
                </a:lnTo>
                <a:lnTo>
                  <a:pt x="845" y="357"/>
                </a:lnTo>
                <a:lnTo>
                  <a:pt x="854" y="368"/>
                </a:lnTo>
                <a:lnTo>
                  <a:pt x="855" y="376"/>
                </a:lnTo>
                <a:lnTo>
                  <a:pt x="855" y="380"/>
                </a:lnTo>
                <a:lnTo>
                  <a:pt x="850" y="387"/>
                </a:lnTo>
                <a:lnTo>
                  <a:pt x="850" y="399"/>
                </a:lnTo>
                <a:lnTo>
                  <a:pt x="857" y="409"/>
                </a:lnTo>
                <a:lnTo>
                  <a:pt x="872" y="425"/>
                </a:lnTo>
                <a:lnTo>
                  <a:pt x="875" y="443"/>
                </a:lnTo>
                <a:lnTo>
                  <a:pt x="881" y="450"/>
                </a:lnTo>
                <a:lnTo>
                  <a:pt x="881" y="455"/>
                </a:lnTo>
                <a:lnTo>
                  <a:pt x="883" y="458"/>
                </a:lnTo>
                <a:lnTo>
                  <a:pt x="886" y="463"/>
                </a:lnTo>
                <a:lnTo>
                  <a:pt x="888" y="463"/>
                </a:lnTo>
                <a:lnTo>
                  <a:pt x="895" y="475"/>
                </a:lnTo>
                <a:lnTo>
                  <a:pt x="902" y="476"/>
                </a:lnTo>
                <a:lnTo>
                  <a:pt x="905" y="491"/>
                </a:lnTo>
                <a:lnTo>
                  <a:pt x="938" y="520"/>
                </a:lnTo>
                <a:lnTo>
                  <a:pt x="954" y="568"/>
                </a:lnTo>
                <a:lnTo>
                  <a:pt x="1119" y="599"/>
                </a:lnTo>
                <a:lnTo>
                  <a:pt x="1130" y="587"/>
                </a:lnTo>
                <a:lnTo>
                  <a:pt x="1157" y="627"/>
                </a:lnTo>
                <a:lnTo>
                  <a:pt x="1119" y="744"/>
                </a:lnTo>
                <a:lnTo>
                  <a:pt x="954" y="802"/>
                </a:lnTo>
                <a:lnTo>
                  <a:pt x="780" y="842"/>
                </a:lnTo>
                <a:lnTo>
                  <a:pt x="642" y="996"/>
                </a:lnTo>
                <a:lnTo>
                  <a:pt x="642" y="934"/>
                </a:lnTo>
                <a:lnTo>
                  <a:pt x="542" y="900"/>
                </a:lnTo>
                <a:lnTo>
                  <a:pt x="507" y="912"/>
                </a:lnTo>
                <a:lnTo>
                  <a:pt x="485" y="914"/>
                </a:lnTo>
                <a:lnTo>
                  <a:pt x="480" y="918"/>
                </a:lnTo>
                <a:lnTo>
                  <a:pt x="477" y="925"/>
                </a:lnTo>
                <a:lnTo>
                  <a:pt x="468" y="928"/>
                </a:lnTo>
                <a:lnTo>
                  <a:pt x="462" y="933"/>
                </a:lnTo>
                <a:lnTo>
                  <a:pt x="461" y="941"/>
                </a:lnTo>
                <a:lnTo>
                  <a:pt x="456" y="945"/>
                </a:lnTo>
                <a:lnTo>
                  <a:pt x="445" y="950"/>
                </a:lnTo>
                <a:lnTo>
                  <a:pt x="442" y="944"/>
                </a:lnTo>
                <a:lnTo>
                  <a:pt x="442" y="934"/>
                </a:lnTo>
                <a:lnTo>
                  <a:pt x="430" y="912"/>
                </a:lnTo>
                <a:lnTo>
                  <a:pt x="426" y="911"/>
                </a:lnTo>
                <a:lnTo>
                  <a:pt x="422" y="905"/>
                </a:lnTo>
                <a:lnTo>
                  <a:pt x="418" y="887"/>
                </a:lnTo>
                <a:lnTo>
                  <a:pt x="399" y="869"/>
                </a:lnTo>
                <a:lnTo>
                  <a:pt x="392" y="866"/>
                </a:lnTo>
                <a:lnTo>
                  <a:pt x="387" y="860"/>
                </a:lnTo>
                <a:lnTo>
                  <a:pt x="376" y="844"/>
                </a:lnTo>
                <a:lnTo>
                  <a:pt x="365" y="821"/>
                </a:lnTo>
                <a:lnTo>
                  <a:pt x="360" y="819"/>
                </a:lnTo>
                <a:lnTo>
                  <a:pt x="359" y="815"/>
                </a:lnTo>
                <a:lnTo>
                  <a:pt x="355" y="804"/>
                </a:lnTo>
                <a:lnTo>
                  <a:pt x="355" y="793"/>
                </a:lnTo>
                <a:lnTo>
                  <a:pt x="351" y="783"/>
                </a:lnTo>
                <a:lnTo>
                  <a:pt x="345" y="774"/>
                </a:lnTo>
                <a:lnTo>
                  <a:pt x="338" y="766"/>
                </a:lnTo>
                <a:lnTo>
                  <a:pt x="335" y="760"/>
                </a:lnTo>
                <a:lnTo>
                  <a:pt x="330" y="756"/>
                </a:lnTo>
                <a:lnTo>
                  <a:pt x="322" y="744"/>
                </a:lnTo>
                <a:lnTo>
                  <a:pt x="317" y="739"/>
                </a:lnTo>
                <a:lnTo>
                  <a:pt x="302" y="729"/>
                </a:lnTo>
                <a:lnTo>
                  <a:pt x="293" y="724"/>
                </a:lnTo>
                <a:lnTo>
                  <a:pt x="291" y="726"/>
                </a:lnTo>
                <a:lnTo>
                  <a:pt x="285" y="723"/>
                </a:lnTo>
                <a:lnTo>
                  <a:pt x="271" y="715"/>
                </a:lnTo>
                <a:lnTo>
                  <a:pt x="264" y="708"/>
                </a:lnTo>
                <a:lnTo>
                  <a:pt x="260" y="704"/>
                </a:lnTo>
                <a:lnTo>
                  <a:pt x="253" y="690"/>
                </a:lnTo>
                <a:lnTo>
                  <a:pt x="251" y="680"/>
                </a:lnTo>
                <a:lnTo>
                  <a:pt x="243" y="638"/>
                </a:lnTo>
                <a:lnTo>
                  <a:pt x="239" y="632"/>
                </a:lnTo>
                <a:lnTo>
                  <a:pt x="239" y="627"/>
                </a:lnTo>
                <a:lnTo>
                  <a:pt x="242" y="625"/>
                </a:lnTo>
                <a:lnTo>
                  <a:pt x="244" y="618"/>
                </a:lnTo>
                <a:lnTo>
                  <a:pt x="246" y="604"/>
                </a:lnTo>
                <a:lnTo>
                  <a:pt x="241" y="589"/>
                </a:lnTo>
                <a:lnTo>
                  <a:pt x="238" y="583"/>
                </a:lnTo>
                <a:lnTo>
                  <a:pt x="233" y="578"/>
                </a:lnTo>
                <a:lnTo>
                  <a:pt x="231" y="570"/>
                </a:lnTo>
                <a:lnTo>
                  <a:pt x="228" y="560"/>
                </a:lnTo>
                <a:lnTo>
                  <a:pt x="225" y="554"/>
                </a:lnTo>
                <a:lnTo>
                  <a:pt x="220" y="543"/>
                </a:lnTo>
                <a:lnTo>
                  <a:pt x="208" y="520"/>
                </a:lnTo>
                <a:lnTo>
                  <a:pt x="193" y="506"/>
                </a:lnTo>
                <a:lnTo>
                  <a:pt x="183" y="498"/>
                </a:lnTo>
                <a:lnTo>
                  <a:pt x="180" y="496"/>
                </a:lnTo>
                <a:lnTo>
                  <a:pt x="178" y="496"/>
                </a:lnTo>
                <a:lnTo>
                  <a:pt x="177" y="492"/>
                </a:lnTo>
                <a:lnTo>
                  <a:pt x="168" y="489"/>
                </a:lnTo>
                <a:lnTo>
                  <a:pt x="162" y="489"/>
                </a:lnTo>
                <a:lnTo>
                  <a:pt x="160" y="490"/>
                </a:lnTo>
                <a:lnTo>
                  <a:pt x="155" y="487"/>
                </a:lnTo>
                <a:lnTo>
                  <a:pt x="153" y="481"/>
                </a:lnTo>
                <a:lnTo>
                  <a:pt x="149" y="473"/>
                </a:lnTo>
                <a:lnTo>
                  <a:pt x="141" y="465"/>
                </a:lnTo>
                <a:lnTo>
                  <a:pt x="141" y="455"/>
                </a:lnTo>
                <a:lnTo>
                  <a:pt x="142" y="453"/>
                </a:lnTo>
                <a:lnTo>
                  <a:pt x="133" y="423"/>
                </a:lnTo>
                <a:lnTo>
                  <a:pt x="128" y="416"/>
                </a:lnTo>
                <a:lnTo>
                  <a:pt x="120" y="404"/>
                </a:lnTo>
                <a:lnTo>
                  <a:pt x="112" y="400"/>
                </a:lnTo>
                <a:lnTo>
                  <a:pt x="109" y="395"/>
                </a:lnTo>
                <a:lnTo>
                  <a:pt x="108" y="388"/>
                </a:lnTo>
                <a:lnTo>
                  <a:pt x="96" y="373"/>
                </a:lnTo>
                <a:lnTo>
                  <a:pt x="87" y="350"/>
                </a:lnTo>
                <a:lnTo>
                  <a:pt x="81" y="341"/>
                </a:lnTo>
                <a:lnTo>
                  <a:pt x="74" y="336"/>
                </a:lnTo>
                <a:lnTo>
                  <a:pt x="61" y="319"/>
                </a:lnTo>
                <a:lnTo>
                  <a:pt x="60" y="314"/>
                </a:lnTo>
                <a:lnTo>
                  <a:pt x="53" y="304"/>
                </a:lnTo>
                <a:lnTo>
                  <a:pt x="45" y="288"/>
                </a:lnTo>
                <a:lnTo>
                  <a:pt x="32" y="263"/>
                </a:lnTo>
                <a:lnTo>
                  <a:pt x="26" y="259"/>
                </a:lnTo>
                <a:lnTo>
                  <a:pt x="17" y="259"/>
                </a:lnTo>
                <a:lnTo>
                  <a:pt x="9" y="258"/>
                </a:lnTo>
                <a:lnTo>
                  <a:pt x="7" y="256"/>
                </a:lnTo>
                <a:lnTo>
                  <a:pt x="2" y="258"/>
                </a:lnTo>
                <a:lnTo>
                  <a:pt x="0" y="263"/>
                </a:lnTo>
                <a:lnTo>
                  <a:pt x="11" y="233"/>
                </a:lnTo>
                <a:lnTo>
                  <a:pt x="12" y="211"/>
                </a:lnTo>
                <a:lnTo>
                  <a:pt x="13" y="202"/>
                </a:lnTo>
                <a:lnTo>
                  <a:pt x="18" y="193"/>
                </a:lnTo>
                <a:lnTo>
                  <a:pt x="17" y="178"/>
                </a:lnTo>
                <a:lnTo>
                  <a:pt x="20" y="186"/>
                </a:lnTo>
                <a:lnTo>
                  <a:pt x="81" y="194"/>
                </a:lnTo>
                <a:lnTo>
                  <a:pt x="98" y="177"/>
                </a:lnTo>
                <a:lnTo>
                  <a:pt x="99" y="174"/>
                </a:lnTo>
                <a:lnTo>
                  <a:pt x="114" y="148"/>
                </a:lnTo>
                <a:lnTo>
                  <a:pt x="156" y="142"/>
                </a:lnTo>
                <a:lnTo>
                  <a:pt x="157" y="132"/>
                </a:lnTo>
                <a:lnTo>
                  <a:pt x="163" y="116"/>
                </a:lnTo>
                <a:lnTo>
                  <a:pt x="185" y="104"/>
                </a:lnTo>
                <a:lnTo>
                  <a:pt x="187" y="103"/>
                </a:lnTo>
                <a:lnTo>
                  <a:pt x="134" y="49"/>
                </a:lnTo>
                <a:lnTo>
                  <a:pt x="125" y="43"/>
                </a:lnTo>
                <a:lnTo>
                  <a:pt x="166" y="33"/>
                </a:lnTo>
                <a:lnTo>
                  <a:pt x="232" y="21"/>
                </a:lnTo>
                <a:lnTo>
                  <a:pt x="248" y="0"/>
                </a:lnTo>
                <a:lnTo>
                  <a:pt x="332" y="23"/>
                </a:lnTo>
                <a:lnTo>
                  <a:pt x="394" y="70"/>
                </a:lnTo>
                <a:lnTo>
                  <a:pt x="450" y="91"/>
                </a:lnTo>
                <a:lnTo>
                  <a:pt x="456" y="96"/>
                </a:lnTo>
                <a:lnTo>
                  <a:pt x="464" y="114"/>
                </a:lnTo>
                <a:lnTo>
                  <a:pt x="493" y="116"/>
                </a:lnTo>
                <a:lnTo>
                  <a:pt x="495" y="119"/>
                </a:lnTo>
                <a:lnTo>
                  <a:pt x="495" y="158"/>
                </a:lnTo>
                <a:lnTo>
                  <a:pt x="497" y="162"/>
                </a:lnTo>
                <a:lnTo>
                  <a:pt x="560" y="190"/>
                </a:lnTo>
                <a:lnTo>
                  <a:pt x="658"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9" name="Freeform 1492"/>
          <p:cNvSpPr>
            <a:spLocks/>
          </p:cNvSpPr>
          <p:nvPr userDrawn="1"/>
        </p:nvSpPr>
        <p:spPr bwMode="auto">
          <a:xfrm>
            <a:off x="4984530" y="3785154"/>
            <a:ext cx="45853" cy="29977"/>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0" name="Freeform 1493"/>
          <p:cNvSpPr>
            <a:spLocks/>
          </p:cNvSpPr>
          <p:nvPr userDrawn="1"/>
        </p:nvSpPr>
        <p:spPr bwMode="auto">
          <a:xfrm>
            <a:off x="5549436" y="3709211"/>
            <a:ext cx="289790" cy="239819"/>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1" name="Freeform 1494"/>
          <p:cNvSpPr>
            <a:spLocks/>
          </p:cNvSpPr>
          <p:nvPr userDrawn="1"/>
        </p:nvSpPr>
        <p:spPr bwMode="auto">
          <a:xfrm>
            <a:off x="6250066" y="4496613"/>
            <a:ext cx="218259" cy="251809"/>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2" name="Freeform 1495"/>
          <p:cNvSpPr>
            <a:spLocks/>
          </p:cNvSpPr>
          <p:nvPr userDrawn="1"/>
        </p:nvSpPr>
        <p:spPr bwMode="auto">
          <a:xfrm>
            <a:off x="6451818" y="4748421"/>
            <a:ext cx="185246" cy="63952"/>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3" name="Freeform 1496"/>
          <p:cNvSpPr>
            <a:spLocks/>
          </p:cNvSpPr>
          <p:nvPr userDrawn="1"/>
        </p:nvSpPr>
        <p:spPr bwMode="auto">
          <a:xfrm>
            <a:off x="6525181" y="4524591"/>
            <a:ext cx="199917" cy="185859"/>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4" name="Freeform 1497"/>
          <p:cNvSpPr>
            <a:spLocks/>
          </p:cNvSpPr>
          <p:nvPr userDrawn="1"/>
        </p:nvSpPr>
        <p:spPr bwMode="auto">
          <a:xfrm>
            <a:off x="7319350" y="4710449"/>
            <a:ext cx="80701" cy="47964"/>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5" name="Freeform 1498"/>
          <p:cNvSpPr>
            <a:spLocks/>
          </p:cNvSpPr>
          <p:nvPr userDrawn="1"/>
        </p:nvSpPr>
        <p:spPr bwMode="auto">
          <a:xfrm>
            <a:off x="7170788" y="4676476"/>
            <a:ext cx="199917" cy="177864"/>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6" name="Freeform 1499"/>
          <p:cNvSpPr>
            <a:spLocks/>
          </p:cNvSpPr>
          <p:nvPr userDrawn="1"/>
        </p:nvSpPr>
        <p:spPr bwMode="auto">
          <a:xfrm>
            <a:off x="6692085" y="4370708"/>
            <a:ext cx="45853" cy="65950"/>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7" name="Freeform 1500"/>
          <p:cNvSpPr>
            <a:spLocks/>
          </p:cNvSpPr>
          <p:nvPr userDrawn="1"/>
        </p:nvSpPr>
        <p:spPr bwMode="auto">
          <a:xfrm>
            <a:off x="6752611" y="4324744"/>
            <a:ext cx="25677" cy="27979"/>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8" name="Freeform 1501"/>
          <p:cNvSpPr>
            <a:spLocks/>
          </p:cNvSpPr>
          <p:nvPr userDrawn="1"/>
        </p:nvSpPr>
        <p:spPr bwMode="auto">
          <a:xfrm>
            <a:off x="6743441" y="4206833"/>
            <a:ext cx="86203" cy="137895"/>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9" name="Freeform 1502"/>
          <p:cNvSpPr>
            <a:spLocks/>
          </p:cNvSpPr>
          <p:nvPr userDrawn="1"/>
        </p:nvSpPr>
        <p:spPr bwMode="auto">
          <a:xfrm>
            <a:off x="6811303" y="4344728"/>
            <a:ext cx="16507" cy="17987"/>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0" name="Freeform 1503"/>
          <p:cNvSpPr>
            <a:spLocks/>
          </p:cNvSpPr>
          <p:nvPr userDrawn="1"/>
        </p:nvSpPr>
        <p:spPr bwMode="auto">
          <a:xfrm>
            <a:off x="6833311" y="4342729"/>
            <a:ext cx="27512" cy="33974"/>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1" name="Freeform 1504"/>
          <p:cNvSpPr>
            <a:spLocks/>
          </p:cNvSpPr>
          <p:nvPr userDrawn="1"/>
        </p:nvSpPr>
        <p:spPr bwMode="auto">
          <a:xfrm>
            <a:off x="6785625" y="4358716"/>
            <a:ext cx="23844" cy="33974"/>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2" name="Freeform 1505"/>
          <p:cNvSpPr>
            <a:spLocks/>
          </p:cNvSpPr>
          <p:nvPr userDrawn="1"/>
        </p:nvSpPr>
        <p:spPr bwMode="auto">
          <a:xfrm>
            <a:off x="6794795" y="4380700"/>
            <a:ext cx="22010" cy="41968"/>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3" name="Freeform 1506"/>
          <p:cNvSpPr>
            <a:spLocks/>
          </p:cNvSpPr>
          <p:nvPr userDrawn="1"/>
        </p:nvSpPr>
        <p:spPr bwMode="auto">
          <a:xfrm>
            <a:off x="6833310" y="4368709"/>
            <a:ext cx="18342" cy="31975"/>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4" name="Freeform 1507"/>
          <p:cNvSpPr>
            <a:spLocks/>
          </p:cNvSpPr>
          <p:nvPr userDrawn="1"/>
        </p:nvSpPr>
        <p:spPr bwMode="auto">
          <a:xfrm>
            <a:off x="6814971" y="4372706"/>
            <a:ext cx="12838" cy="3997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5" name="Freeform 1508"/>
          <p:cNvSpPr>
            <a:spLocks/>
          </p:cNvSpPr>
          <p:nvPr userDrawn="1"/>
        </p:nvSpPr>
        <p:spPr bwMode="auto">
          <a:xfrm>
            <a:off x="6824141" y="4396687"/>
            <a:ext cx="14673" cy="13990"/>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6" name="Freeform 1509"/>
          <p:cNvSpPr>
            <a:spLocks/>
          </p:cNvSpPr>
          <p:nvPr userDrawn="1"/>
        </p:nvSpPr>
        <p:spPr bwMode="auto">
          <a:xfrm>
            <a:off x="6785625" y="4406681"/>
            <a:ext cx="93540" cy="91930"/>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7" name="Freeform 1510"/>
          <p:cNvSpPr>
            <a:spLocks/>
          </p:cNvSpPr>
          <p:nvPr userDrawn="1"/>
        </p:nvSpPr>
        <p:spPr bwMode="auto">
          <a:xfrm>
            <a:off x="6626058" y="4508603"/>
            <a:ext cx="27512" cy="23982"/>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8" name="Freeform 1511"/>
          <p:cNvSpPr>
            <a:spLocks/>
          </p:cNvSpPr>
          <p:nvPr userDrawn="1"/>
        </p:nvSpPr>
        <p:spPr bwMode="auto">
          <a:xfrm>
            <a:off x="6668242" y="4690466"/>
            <a:ext cx="5502" cy="17987"/>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9" name="Freeform 1512"/>
          <p:cNvSpPr>
            <a:spLocks/>
          </p:cNvSpPr>
          <p:nvPr userDrawn="1"/>
        </p:nvSpPr>
        <p:spPr bwMode="auto">
          <a:xfrm>
            <a:off x="6842482" y="4802380"/>
            <a:ext cx="49521" cy="23982"/>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0" name="Freeform 1513"/>
          <p:cNvSpPr>
            <a:spLocks/>
          </p:cNvSpPr>
          <p:nvPr userDrawn="1"/>
        </p:nvSpPr>
        <p:spPr bwMode="auto">
          <a:xfrm>
            <a:off x="6818639" y="4818369"/>
            <a:ext cx="31180" cy="27979"/>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1" name="Freeform 1514"/>
          <p:cNvSpPr>
            <a:spLocks/>
          </p:cNvSpPr>
          <p:nvPr userDrawn="1"/>
        </p:nvSpPr>
        <p:spPr bwMode="auto">
          <a:xfrm>
            <a:off x="6906677" y="4680472"/>
            <a:ext cx="58692" cy="23982"/>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2" name="Freeform 1515"/>
          <p:cNvSpPr>
            <a:spLocks/>
          </p:cNvSpPr>
          <p:nvPr userDrawn="1"/>
        </p:nvSpPr>
        <p:spPr bwMode="auto">
          <a:xfrm>
            <a:off x="6725099" y="4582548"/>
            <a:ext cx="126554" cy="161877"/>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3" name="Freeform 1516"/>
          <p:cNvSpPr>
            <a:spLocks/>
          </p:cNvSpPr>
          <p:nvPr userDrawn="1"/>
        </p:nvSpPr>
        <p:spPr bwMode="auto">
          <a:xfrm>
            <a:off x="6895671" y="4570557"/>
            <a:ext cx="29346" cy="67949"/>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4" name="Freeform 1517"/>
          <p:cNvSpPr>
            <a:spLocks/>
          </p:cNvSpPr>
          <p:nvPr userDrawn="1"/>
        </p:nvSpPr>
        <p:spPr bwMode="auto">
          <a:xfrm>
            <a:off x="6967201" y="4628511"/>
            <a:ext cx="209088" cy="191854"/>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5" name="Freeform 1518"/>
          <p:cNvSpPr>
            <a:spLocks/>
          </p:cNvSpPr>
          <p:nvPr userDrawn="1"/>
        </p:nvSpPr>
        <p:spPr bwMode="auto">
          <a:xfrm>
            <a:off x="7368871" y="4676476"/>
            <a:ext cx="47686" cy="47964"/>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6" name="Freeform 1519"/>
          <p:cNvSpPr>
            <a:spLocks/>
          </p:cNvSpPr>
          <p:nvPr userDrawn="1"/>
        </p:nvSpPr>
        <p:spPr bwMode="auto">
          <a:xfrm>
            <a:off x="6387624" y="4100913"/>
            <a:ext cx="144894" cy="331748"/>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7" name="Freeform 1520"/>
          <p:cNvSpPr>
            <a:spLocks/>
          </p:cNvSpPr>
          <p:nvPr userDrawn="1"/>
        </p:nvSpPr>
        <p:spPr bwMode="auto">
          <a:xfrm>
            <a:off x="6538020" y="4468634"/>
            <a:ext cx="194416" cy="131899"/>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8" name="Freeform 1521"/>
          <p:cNvSpPr>
            <a:spLocks/>
          </p:cNvSpPr>
          <p:nvPr userDrawn="1"/>
        </p:nvSpPr>
        <p:spPr bwMode="auto">
          <a:xfrm>
            <a:off x="6349107" y="4472630"/>
            <a:ext cx="82534" cy="117910"/>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9" name="Freeform 1522"/>
          <p:cNvSpPr>
            <a:spLocks/>
          </p:cNvSpPr>
          <p:nvPr userDrawn="1"/>
        </p:nvSpPr>
        <p:spPr bwMode="auto">
          <a:xfrm>
            <a:off x="6297751" y="4158868"/>
            <a:ext cx="157734" cy="337744"/>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0" name="Freeform 1523"/>
          <p:cNvSpPr>
            <a:spLocks/>
          </p:cNvSpPr>
          <p:nvPr userDrawn="1"/>
        </p:nvSpPr>
        <p:spPr bwMode="auto">
          <a:xfrm>
            <a:off x="6189540" y="3977008"/>
            <a:ext cx="177908" cy="419681"/>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1" name="Freeform 1524"/>
          <p:cNvSpPr>
            <a:spLocks/>
          </p:cNvSpPr>
          <p:nvPr userDrawn="1"/>
        </p:nvSpPr>
        <p:spPr bwMode="auto">
          <a:xfrm>
            <a:off x="6391291" y="4296765"/>
            <a:ext cx="106378" cy="93929"/>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2" name="Freeform 1525"/>
          <p:cNvSpPr>
            <a:spLocks/>
          </p:cNvSpPr>
          <p:nvPr userDrawn="1"/>
        </p:nvSpPr>
        <p:spPr bwMode="auto">
          <a:xfrm>
            <a:off x="6349107" y="4116901"/>
            <a:ext cx="144894" cy="195851"/>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3" name="Freeform 1527"/>
          <p:cNvSpPr>
            <a:spLocks/>
          </p:cNvSpPr>
          <p:nvPr userDrawn="1"/>
        </p:nvSpPr>
        <p:spPr bwMode="auto">
          <a:xfrm>
            <a:off x="6154692" y="4110906"/>
            <a:ext cx="5502" cy="9992"/>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4" name="Freeform 1528"/>
          <p:cNvSpPr>
            <a:spLocks/>
          </p:cNvSpPr>
          <p:nvPr userDrawn="1"/>
        </p:nvSpPr>
        <p:spPr bwMode="auto">
          <a:xfrm>
            <a:off x="5701666" y="3779157"/>
            <a:ext cx="590583" cy="663496"/>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5" name="Freeform 1529"/>
          <p:cNvSpPr>
            <a:spLocks/>
          </p:cNvSpPr>
          <p:nvPr userDrawn="1"/>
        </p:nvSpPr>
        <p:spPr bwMode="auto">
          <a:xfrm>
            <a:off x="5556772" y="3751179"/>
            <a:ext cx="337476" cy="335745"/>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6" name="Freeform 1530"/>
          <p:cNvSpPr>
            <a:spLocks/>
          </p:cNvSpPr>
          <p:nvPr userDrawn="1"/>
        </p:nvSpPr>
        <p:spPr bwMode="auto">
          <a:xfrm>
            <a:off x="6118009" y="3977007"/>
            <a:ext cx="67862" cy="39970"/>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7" name="Freeform 1531"/>
          <p:cNvSpPr>
            <a:spLocks/>
          </p:cNvSpPr>
          <p:nvPr userDrawn="1"/>
        </p:nvSpPr>
        <p:spPr bwMode="auto">
          <a:xfrm>
            <a:off x="5943769" y="3927045"/>
            <a:ext cx="161402" cy="97925"/>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8" name="Freeform 1532"/>
          <p:cNvSpPr>
            <a:spLocks/>
          </p:cNvSpPr>
          <p:nvPr userDrawn="1"/>
        </p:nvSpPr>
        <p:spPr bwMode="auto">
          <a:xfrm>
            <a:off x="6099668" y="4020974"/>
            <a:ext cx="95373" cy="133899"/>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9" name="Freeform 1533"/>
          <p:cNvSpPr>
            <a:spLocks/>
          </p:cNvSpPr>
          <p:nvPr userDrawn="1"/>
        </p:nvSpPr>
        <p:spPr bwMode="auto">
          <a:xfrm>
            <a:off x="5936432" y="4404683"/>
            <a:ext cx="42184" cy="85935"/>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0" name="Freeform 1534"/>
          <p:cNvSpPr>
            <a:spLocks/>
          </p:cNvSpPr>
          <p:nvPr userDrawn="1"/>
        </p:nvSpPr>
        <p:spPr bwMode="auto">
          <a:xfrm>
            <a:off x="6748943" y="4050951"/>
            <a:ext cx="34848" cy="79939"/>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1" name="Freeform 1536"/>
          <p:cNvSpPr>
            <a:spLocks/>
          </p:cNvSpPr>
          <p:nvPr userDrawn="1"/>
        </p:nvSpPr>
        <p:spPr bwMode="auto">
          <a:xfrm>
            <a:off x="7146945" y="3505365"/>
            <a:ext cx="121051" cy="121907"/>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2" name="Freeform 1537"/>
          <p:cNvSpPr>
            <a:spLocks/>
          </p:cNvSpPr>
          <p:nvPr userDrawn="1"/>
        </p:nvSpPr>
        <p:spPr bwMode="auto">
          <a:xfrm>
            <a:off x="6967202" y="3625275"/>
            <a:ext cx="225595" cy="219833"/>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3" name="Freeform 1538"/>
          <p:cNvSpPr>
            <a:spLocks/>
          </p:cNvSpPr>
          <p:nvPr userDrawn="1"/>
        </p:nvSpPr>
        <p:spPr bwMode="auto">
          <a:xfrm>
            <a:off x="6992880" y="3823123"/>
            <a:ext cx="51355" cy="41968"/>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4" name="Freeform 1539"/>
          <p:cNvSpPr>
            <a:spLocks/>
          </p:cNvSpPr>
          <p:nvPr userDrawn="1"/>
        </p:nvSpPr>
        <p:spPr bwMode="auto">
          <a:xfrm>
            <a:off x="6941525" y="3833116"/>
            <a:ext cx="47686" cy="75942"/>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5" name="Freeform 1540"/>
          <p:cNvSpPr>
            <a:spLocks/>
          </p:cNvSpPr>
          <p:nvPr userDrawn="1"/>
        </p:nvSpPr>
        <p:spPr bwMode="auto">
          <a:xfrm>
            <a:off x="6869994" y="3709209"/>
            <a:ext cx="69696" cy="113914"/>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6" name="Freeform 1541"/>
          <p:cNvSpPr>
            <a:spLocks/>
          </p:cNvSpPr>
          <p:nvPr userDrawn="1"/>
        </p:nvSpPr>
        <p:spPr bwMode="auto">
          <a:xfrm>
            <a:off x="6099668" y="3281534"/>
            <a:ext cx="636435" cy="339742"/>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7" name="Freeform 1543"/>
          <p:cNvSpPr>
            <a:spLocks/>
          </p:cNvSpPr>
          <p:nvPr userDrawn="1"/>
        </p:nvSpPr>
        <p:spPr bwMode="auto">
          <a:xfrm>
            <a:off x="6517845" y="4170859"/>
            <a:ext cx="47686" cy="45965"/>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8" name="Freeform 1544"/>
          <p:cNvSpPr>
            <a:spLocks/>
          </p:cNvSpPr>
          <p:nvPr userDrawn="1"/>
        </p:nvSpPr>
        <p:spPr bwMode="auto">
          <a:xfrm>
            <a:off x="5813548" y="3235569"/>
            <a:ext cx="1232521" cy="933291"/>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9" name="Freeform 1545"/>
          <p:cNvSpPr>
            <a:spLocks/>
          </p:cNvSpPr>
          <p:nvPr userDrawn="1"/>
        </p:nvSpPr>
        <p:spPr bwMode="auto">
          <a:xfrm>
            <a:off x="6835145" y="3581307"/>
            <a:ext cx="126554" cy="151885"/>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0" name="Freeform 1547"/>
          <p:cNvSpPr>
            <a:spLocks/>
          </p:cNvSpPr>
          <p:nvPr userDrawn="1"/>
        </p:nvSpPr>
        <p:spPr bwMode="auto">
          <a:xfrm>
            <a:off x="4522282" y="3392029"/>
            <a:ext cx="154116" cy="81969"/>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1" name="Freeform 1548"/>
          <p:cNvSpPr>
            <a:spLocks/>
          </p:cNvSpPr>
          <p:nvPr userDrawn="1"/>
        </p:nvSpPr>
        <p:spPr bwMode="auto">
          <a:xfrm>
            <a:off x="4360826" y="3591955"/>
            <a:ext cx="9174" cy="5998"/>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2" name="Freeform 1549"/>
          <p:cNvSpPr>
            <a:spLocks/>
          </p:cNvSpPr>
          <p:nvPr userDrawn="1"/>
        </p:nvSpPr>
        <p:spPr bwMode="auto">
          <a:xfrm>
            <a:off x="4524116" y="3444009"/>
            <a:ext cx="5504" cy="11996"/>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3" name="Freeform 1551"/>
          <p:cNvSpPr>
            <a:spLocks/>
          </p:cNvSpPr>
          <p:nvPr userDrawn="1"/>
        </p:nvSpPr>
        <p:spPr bwMode="auto">
          <a:xfrm>
            <a:off x="4584662" y="3715909"/>
            <a:ext cx="62381" cy="43984"/>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4" name="Freeform 1552"/>
          <p:cNvSpPr>
            <a:spLocks/>
          </p:cNvSpPr>
          <p:nvPr userDrawn="1"/>
        </p:nvSpPr>
        <p:spPr bwMode="auto">
          <a:xfrm>
            <a:off x="4498429" y="3629941"/>
            <a:ext cx="29356" cy="69974"/>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5" name="Freeform 1553"/>
          <p:cNvSpPr>
            <a:spLocks/>
          </p:cNvSpPr>
          <p:nvPr userDrawn="1"/>
        </p:nvSpPr>
        <p:spPr bwMode="auto">
          <a:xfrm>
            <a:off x="4467240" y="3454005"/>
            <a:ext cx="236679" cy="271898"/>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6" name="Freeform 1554"/>
          <p:cNvSpPr>
            <a:spLocks/>
          </p:cNvSpPr>
          <p:nvPr userDrawn="1"/>
        </p:nvSpPr>
        <p:spPr bwMode="auto">
          <a:xfrm>
            <a:off x="4447057" y="3352043"/>
            <a:ext cx="12843" cy="21992"/>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7" name="Freeform 1555"/>
          <p:cNvSpPr>
            <a:spLocks/>
          </p:cNvSpPr>
          <p:nvPr userDrawn="1"/>
        </p:nvSpPr>
        <p:spPr bwMode="auto">
          <a:xfrm>
            <a:off x="4452563" y="3436012"/>
            <a:ext cx="89901" cy="55979"/>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8" name="Freeform 1556"/>
          <p:cNvSpPr>
            <a:spLocks/>
          </p:cNvSpPr>
          <p:nvPr userDrawn="1"/>
        </p:nvSpPr>
        <p:spPr bwMode="auto">
          <a:xfrm>
            <a:off x="4390181" y="3308060"/>
            <a:ext cx="67885" cy="63976"/>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9" name="Freeform 1557"/>
          <p:cNvSpPr>
            <a:spLocks/>
          </p:cNvSpPr>
          <p:nvPr userDrawn="1"/>
        </p:nvSpPr>
        <p:spPr bwMode="auto">
          <a:xfrm>
            <a:off x="4149832" y="3557968"/>
            <a:ext cx="251356" cy="217919"/>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0" name="Freeform 1558"/>
          <p:cNvSpPr>
            <a:spLocks/>
          </p:cNvSpPr>
          <p:nvPr userDrawn="1"/>
        </p:nvSpPr>
        <p:spPr bwMode="auto">
          <a:xfrm>
            <a:off x="4403024" y="3236088"/>
            <a:ext cx="73388" cy="95965"/>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1" name="Freeform 1559"/>
          <p:cNvSpPr>
            <a:spLocks/>
          </p:cNvSpPr>
          <p:nvPr userDrawn="1"/>
        </p:nvSpPr>
        <p:spPr bwMode="auto">
          <a:xfrm>
            <a:off x="4146163" y="3607949"/>
            <a:ext cx="64215" cy="141948"/>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2" name="Freeform 1560"/>
          <p:cNvSpPr>
            <a:spLocks/>
          </p:cNvSpPr>
          <p:nvPr userDrawn="1"/>
        </p:nvSpPr>
        <p:spPr bwMode="auto">
          <a:xfrm>
            <a:off x="4452562" y="3182108"/>
            <a:ext cx="179802" cy="26190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3" name="Freeform 1562"/>
          <p:cNvSpPr>
            <a:spLocks/>
          </p:cNvSpPr>
          <p:nvPr userDrawn="1"/>
        </p:nvSpPr>
        <p:spPr bwMode="auto">
          <a:xfrm>
            <a:off x="4505768" y="3579958"/>
            <a:ext cx="20181" cy="47982"/>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4" name="Freeform 1563"/>
          <p:cNvSpPr>
            <a:spLocks/>
          </p:cNvSpPr>
          <p:nvPr userDrawn="1"/>
        </p:nvSpPr>
        <p:spPr bwMode="auto">
          <a:xfrm>
            <a:off x="4239734" y="3320055"/>
            <a:ext cx="255026" cy="279896"/>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5" name="Freeform 1565"/>
          <p:cNvSpPr>
            <a:spLocks/>
          </p:cNvSpPr>
          <p:nvPr userDrawn="1"/>
        </p:nvSpPr>
        <p:spPr bwMode="auto">
          <a:xfrm>
            <a:off x="4212214" y="3032163"/>
            <a:ext cx="157786" cy="325879"/>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6" name="Freeform 1566"/>
          <p:cNvSpPr>
            <a:spLocks/>
          </p:cNvSpPr>
          <p:nvPr userDrawn="1"/>
        </p:nvSpPr>
        <p:spPr bwMode="auto">
          <a:xfrm>
            <a:off x="4171850" y="3166112"/>
            <a:ext cx="51372" cy="49982"/>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7" name="Freeform 1567"/>
          <p:cNvSpPr>
            <a:spLocks/>
          </p:cNvSpPr>
          <p:nvPr userDrawn="1"/>
        </p:nvSpPr>
        <p:spPr bwMode="auto">
          <a:xfrm>
            <a:off x="4125982" y="3170112"/>
            <a:ext cx="86233" cy="137949"/>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8" name="Freeform 1568"/>
          <p:cNvSpPr>
            <a:spLocks/>
          </p:cNvSpPr>
          <p:nvPr userDrawn="1"/>
        </p:nvSpPr>
        <p:spPr bwMode="auto">
          <a:xfrm>
            <a:off x="3839765" y="2654303"/>
            <a:ext cx="220167" cy="163939"/>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9" name="Freeform 1569"/>
          <p:cNvSpPr>
            <a:spLocks/>
          </p:cNvSpPr>
          <p:nvPr userDrawn="1"/>
        </p:nvSpPr>
        <p:spPr bwMode="auto">
          <a:xfrm>
            <a:off x="4777307" y="3274072"/>
            <a:ext cx="365108" cy="263902"/>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0" name="Freeform 1570"/>
          <p:cNvSpPr>
            <a:spLocks/>
          </p:cNvSpPr>
          <p:nvPr userDrawn="1"/>
        </p:nvSpPr>
        <p:spPr bwMode="auto">
          <a:xfrm>
            <a:off x="4867209" y="3408024"/>
            <a:ext cx="69719" cy="95965"/>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1" name="Freeform 1571"/>
          <p:cNvSpPr>
            <a:spLocks/>
          </p:cNvSpPr>
          <p:nvPr userDrawn="1"/>
        </p:nvSpPr>
        <p:spPr bwMode="auto">
          <a:xfrm>
            <a:off x="4797489" y="3132126"/>
            <a:ext cx="196314" cy="179933"/>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2" name="Freeform 1573"/>
          <p:cNvSpPr>
            <a:spLocks/>
          </p:cNvSpPr>
          <p:nvPr userDrawn="1"/>
        </p:nvSpPr>
        <p:spPr bwMode="auto">
          <a:xfrm>
            <a:off x="4648877" y="3507985"/>
            <a:ext cx="78893" cy="85968"/>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3" name="Freeform 1574"/>
          <p:cNvSpPr>
            <a:spLocks/>
          </p:cNvSpPr>
          <p:nvPr userDrawn="1"/>
        </p:nvSpPr>
        <p:spPr bwMode="auto">
          <a:xfrm>
            <a:off x="4676397" y="3577959"/>
            <a:ext cx="27521" cy="15994"/>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4" name="Freeform 1575"/>
          <p:cNvSpPr>
            <a:spLocks/>
          </p:cNvSpPr>
          <p:nvPr userDrawn="1"/>
        </p:nvSpPr>
        <p:spPr bwMode="auto">
          <a:xfrm>
            <a:off x="4758960" y="3715910"/>
            <a:ext cx="45868" cy="51981"/>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5" name="Freeform 1576"/>
          <p:cNvSpPr>
            <a:spLocks/>
          </p:cNvSpPr>
          <p:nvPr userDrawn="1"/>
        </p:nvSpPr>
        <p:spPr bwMode="auto">
          <a:xfrm>
            <a:off x="4738779" y="3615945"/>
            <a:ext cx="128430" cy="117956"/>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6" name="Freeform 1577"/>
          <p:cNvSpPr>
            <a:spLocks/>
          </p:cNvSpPr>
          <p:nvPr userDrawn="1"/>
        </p:nvSpPr>
        <p:spPr bwMode="auto">
          <a:xfrm>
            <a:off x="4656216" y="3406025"/>
            <a:ext cx="135769" cy="87967"/>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7" name="Freeform 1578"/>
          <p:cNvSpPr>
            <a:spLocks/>
          </p:cNvSpPr>
          <p:nvPr userDrawn="1"/>
        </p:nvSpPr>
        <p:spPr bwMode="auto">
          <a:xfrm>
            <a:off x="4615851" y="3182107"/>
            <a:ext cx="199985" cy="205924"/>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8" name="Freeform 1579"/>
          <p:cNvSpPr>
            <a:spLocks/>
          </p:cNvSpPr>
          <p:nvPr userDrawn="1"/>
        </p:nvSpPr>
        <p:spPr bwMode="auto">
          <a:xfrm>
            <a:off x="4753456" y="3056153"/>
            <a:ext cx="148613" cy="95965"/>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9" name="Freeform 1580"/>
          <p:cNvSpPr>
            <a:spLocks/>
          </p:cNvSpPr>
          <p:nvPr userDrawn="1"/>
        </p:nvSpPr>
        <p:spPr bwMode="auto">
          <a:xfrm>
            <a:off x="4571818" y="3318057"/>
            <a:ext cx="139438" cy="89967"/>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0" name="Freeform 1581"/>
          <p:cNvSpPr>
            <a:spLocks/>
          </p:cNvSpPr>
          <p:nvPr userDrawn="1"/>
        </p:nvSpPr>
        <p:spPr bwMode="auto">
          <a:xfrm>
            <a:off x="4782811" y="3543972"/>
            <a:ext cx="126595" cy="85968"/>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1" name="Freeform 1582"/>
          <p:cNvSpPr>
            <a:spLocks/>
          </p:cNvSpPr>
          <p:nvPr userDrawn="1"/>
        </p:nvSpPr>
        <p:spPr bwMode="auto">
          <a:xfrm>
            <a:off x="4604843" y="3469999"/>
            <a:ext cx="117422" cy="109960"/>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2" name="Freeform 1583"/>
          <p:cNvSpPr>
            <a:spLocks/>
          </p:cNvSpPr>
          <p:nvPr userDrawn="1"/>
        </p:nvSpPr>
        <p:spPr bwMode="auto">
          <a:xfrm>
            <a:off x="4720430" y="3589955"/>
            <a:ext cx="36694" cy="85968"/>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3" name="Freeform 1584"/>
          <p:cNvSpPr>
            <a:spLocks/>
          </p:cNvSpPr>
          <p:nvPr userDrawn="1"/>
        </p:nvSpPr>
        <p:spPr bwMode="auto">
          <a:xfrm>
            <a:off x="4755290" y="3120131"/>
            <a:ext cx="115588" cy="95965"/>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4" name="Freeform 1585"/>
          <p:cNvSpPr>
            <a:spLocks/>
          </p:cNvSpPr>
          <p:nvPr userDrawn="1"/>
        </p:nvSpPr>
        <p:spPr bwMode="auto">
          <a:xfrm>
            <a:off x="4703918" y="3479997"/>
            <a:ext cx="88067" cy="133950"/>
          </a:xfrm>
          <a:custGeom>
            <a:avLst/>
            <a:gdLst/>
            <a:ahLst/>
            <a:cxnLst>
              <a:cxn ang="0">
                <a:pos x="23" y="33"/>
              </a:cxn>
              <a:cxn ang="0">
                <a:pos x="24" y="42"/>
              </a:cxn>
              <a:cxn ang="0">
                <a:pos x="25" y="49"/>
              </a:cxn>
              <a:cxn ang="0">
                <a:pos x="32" y="49"/>
              </a:cxn>
              <a:cxn ang="0">
                <a:pos x="29" y="53"/>
              </a:cxn>
              <a:cxn ang="0">
                <a:pos x="27" y="60"/>
              </a:cxn>
              <a:cxn ang="0">
                <a:pos x="32" y="64"/>
              </a:cxn>
              <a:cxn ang="0">
                <a:pos x="42" y="67"/>
              </a:cxn>
              <a:cxn ang="0">
                <a:pos x="52" y="70"/>
              </a:cxn>
              <a:cxn ang="0">
                <a:pos x="45" y="73"/>
              </a:cxn>
              <a:cxn ang="0">
                <a:pos x="37" y="78"/>
              </a:cxn>
              <a:cxn ang="0">
                <a:pos x="39" y="92"/>
              </a:cxn>
              <a:cxn ang="0">
                <a:pos x="52" y="100"/>
              </a:cxn>
              <a:cxn ang="0">
                <a:pos x="46" y="115"/>
              </a:cxn>
              <a:cxn ang="0">
                <a:pos x="39" y="130"/>
              </a:cxn>
              <a:cxn ang="0">
                <a:pos x="39" y="145"/>
              </a:cxn>
              <a:cxn ang="0">
                <a:pos x="48" y="146"/>
              </a:cxn>
              <a:cxn ang="0">
                <a:pos x="54" y="156"/>
              </a:cxn>
              <a:cxn ang="0">
                <a:pos x="58" y="159"/>
              </a:cxn>
              <a:cxn ang="0">
                <a:pos x="66" y="166"/>
              </a:cxn>
              <a:cxn ang="0">
                <a:pos x="48" y="167"/>
              </a:cxn>
              <a:cxn ang="0">
                <a:pos x="46" y="171"/>
              </a:cxn>
              <a:cxn ang="0">
                <a:pos x="61" y="188"/>
              </a:cxn>
              <a:cxn ang="0">
                <a:pos x="56" y="199"/>
              </a:cxn>
              <a:cxn ang="0">
                <a:pos x="48" y="201"/>
              </a:cxn>
              <a:cxn ang="0">
                <a:pos x="37" y="205"/>
              </a:cxn>
              <a:cxn ang="0">
                <a:pos x="31" y="202"/>
              </a:cxn>
              <a:cxn ang="0">
                <a:pos x="32" y="210"/>
              </a:cxn>
              <a:cxn ang="0">
                <a:pos x="35" y="223"/>
              </a:cxn>
              <a:cxn ang="0">
                <a:pos x="30" y="223"/>
              </a:cxn>
              <a:cxn ang="0">
                <a:pos x="23" y="217"/>
              </a:cxn>
              <a:cxn ang="0">
                <a:pos x="11" y="232"/>
              </a:cxn>
              <a:cxn ang="0">
                <a:pos x="4" y="242"/>
              </a:cxn>
              <a:cxn ang="0">
                <a:pos x="0" y="254"/>
              </a:cxn>
              <a:cxn ang="0">
                <a:pos x="5" y="265"/>
              </a:cxn>
              <a:cxn ang="0">
                <a:pos x="0" y="285"/>
              </a:cxn>
              <a:cxn ang="0">
                <a:pos x="36" y="314"/>
              </a:cxn>
              <a:cxn ang="0">
                <a:pos x="53" y="315"/>
              </a:cxn>
              <a:cxn ang="0">
                <a:pos x="63" y="285"/>
              </a:cxn>
              <a:cxn ang="0">
                <a:pos x="91" y="284"/>
              </a:cxn>
              <a:cxn ang="0">
                <a:pos x="120" y="315"/>
              </a:cxn>
              <a:cxn ang="0">
                <a:pos x="129" y="314"/>
              </a:cxn>
              <a:cxn ang="0">
                <a:pos x="150" y="301"/>
              </a:cxn>
              <a:cxn ang="0">
                <a:pos x="159" y="303"/>
              </a:cxn>
              <a:cxn ang="0">
                <a:pos x="186" y="298"/>
              </a:cxn>
              <a:cxn ang="0">
                <a:pos x="218" y="302"/>
              </a:cxn>
              <a:cxn ang="0">
                <a:pos x="241" y="241"/>
              </a:cxn>
              <a:cxn ang="0">
                <a:pos x="215" y="188"/>
              </a:cxn>
              <a:cxn ang="0">
                <a:pos x="225" y="157"/>
              </a:cxn>
              <a:cxn ang="0">
                <a:pos x="220" y="119"/>
              </a:cxn>
              <a:cxn ang="0">
                <a:pos x="166" y="105"/>
              </a:cxn>
              <a:cxn ang="0">
                <a:pos x="154" y="76"/>
              </a:cxn>
              <a:cxn ang="0">
                <a:pos x="129" y="42"/>
              </a:cxn>
              <a:cxn ang="0">
                <a:pos x="99" y="11"/>
              </a:cxn>
              <a:cxn ang="0">
                <a:pos x="78" y="5"/>
              </a:cxn>
              <a:cxn ang="0">
                <a:pos x="35" y="16"/>
              </a:cxn>
            </a:cxnLst>
            <a:rect l="0" t="0" r="r" b="b"/>
            <a:pathLst>
              <a:path w="241" h="331">
                <a:moveTo>
                  <a:pt x="14" y="22"/>
                </a:moveTo>
                <a:lnTo>
                  <a:pt x="23" y="29"/>
                </a:lnTo>
                <a:lnTo>
                  <a:pt x="23" y="33"/>
                </a:lnTo>
                <a:lnTo>
                  <a:pt x="21" y="35"/>
                </a:lnTo>
                <a:lnTo>
                  <a:pt x="24" y="38"/>
                </a:lnTo>
                <a:lnTo>
                  <a:pt x="24" y="42"/>
                </a:lnTo>
                <a:lnTo>
                  <a:pt x="21" y="45"/>
                </a:lnTo>
                <a:lnTo>
                  <a:pt x="21" y="48"/>
                </a:lnTo>
                <a:lnTo>
                  <a:pt x="25" y="49"/>
                </a:lnTo>
                <a:lnTo>
                  <a:pt x="27" y="46"/>
                </a:lnTo>
                <a:lnTo>
                  <a:pt x="29" y="46"/>
                </a:lnTo>
                <a:lnTo>
                  <a:pt x="32" y="49"/>
                </a:lnTo>
                <a:lnTo>
                  <a:pt x="32" y="51"/>
                </a:lnTo>
                <a:lnTo>
                  <a:pt x="30" y="53"/>
                </a:lnTo>
                <a:lnTo>
                  <a:pt x="29" y="53"/>
                </a:lnTo>
                <a:lnTo>
                  <a:pt x="27" y="55"/>
                </a:lnTo>
                <a:lnTo>
                  <a:pt x="29" y="56"/>
                </a:lnTo>
                <a:lnTo>
                  <a:pt x="27" y="60"/>
                </a:lnTo>
                <a:lnTo>
                  <a:pt x="27" y="61"/>
                </a:lnTo>
                <a:lnTo>
                  <a:pt x="29" y="64"/>
                </a:lnTo>
                <a:lnTo>
                  <a:pt x="32" y="64"/>
                </a:lnTo>
                <a:lnTo>
                  <a:pt x="34" y="65"/>
                </a:lnTo>
                <a:lnTo>
                  <a:pt x="37" y="67"/>
                </a:lnTo>
                <a:lnTo>
                  <a:pt x="42" y="67"/>
                </a:lnTo>
                <a:lnTo>
                  <a:pt x="46" y="70"/>
                </a:lnTo>
                <a:lnTo>
                  <a:pt x="50" y="69"/>
                </a:lnTo>
                <a:lnTo>
                  <a:pt x="52" y="70"/>
                </a:lnTo>
                <a:lnTo>
                  <a:pt x="52" y="72"/>
                </a:lnTo>
                <a:lnTo>
                  <a:pt x="48" y="75"/>
                </a:lnTo>
                <a:lnTo>
                  <a:pt x="45" y="73"/>
                </a:lnTo>
                <a:lnTo>
                  <a:pt x="41" y="72"/>
                </a:lnTo>
                <a:lnTo>
                  <a:pt x="39" y="73"/>
                </a:lnTo>
                <a:lnTo>
                  <a:pt x="37" y="78"/>
                </a:lnTo>
                <a:lnTo>
                  <a:pt x="35" y="81"/>
                </a:lnTo>
                <a:lnTo>
                  <a:pt x="37" y="91"/>
                </a:lnTo>
                <a:lnTo>
                  <a:pt x="39" y="92"/>
                </a:lnTo>
                <a:lnTo>
                  <a:pt x="37" y="97"/>
                </a:lnTo>
                <a:lnTo>
                  <a:pt x="50" y="97"/>
                </a:lnTo>
                <a:lnTo>
                  <a:pt x="52" y="100"/>
                </a:lnTo>
                <a:lnTo>
                  <a:pt x="51" y="104"/>
                </a:lnTo>
                <a:lnTo>
                  <a:pt x="51" y="108"/>
                </a:lnTo>
                <a:lnTo>
                  <a:pt x="46" y="115"/>
                </a:lnTo>
                <a:lnTo>
                  <a:pt x="41" y="126"/>
                </a:lnTo>
                <a:lnTo>
                  <a:pt x="39" y="128"/>
                </a:lnTo>
                <a:lnTo>
                  <a:pt x="39" y="130"/>
                </a:lnTo>
                <a:lnTo>
                  <a:pt x="40" y="132"/>
                </a:lnTo>
                <a:lnTo>
                  <a:pt x="36" y="137"/>
                </a:lnTo>
                <a:lnTo>
                  <a:pt x="39" y="145"/>
                </a:lnTo>
                <a:lnTo>
                  <a:pt x="42" y="145"/>
                </a:lnTo>
                <a:lnTo>
                  <a:pt x="45" y="147"/>
                </a:lnTo>
                <a:lnTo>
                  <a:pt x="48" y="146"/>
                </a:lnTo>
                <a:lnTo>
                  <a:pt x="50" y="148"/>
                </a:lnTo>
                <a:lnTo>
                  <a:pt x="51" y="152"/>
                </a:lnTo>
                <a:lnTo>
                  <a:pt x="54" y="156"/>
                </a:lnTo>
                <a:lnTo>
                  <a:pt x="58" y="156"/>
                </a:lnTo>
                <a:lnTo>
                  <a:pt x="58" y="157"/>
                </a:lnTo>
                <a:lnTo>
                  <a:pt x="58" y="159"/>
                </a:lnTo>
                <a:lnTo>
                  <a:pt x="63" y="162"/>
                </a:lnTo>
                <a:lnTo>
                  <a:pt x="66" y="163"/>
                </a:lnTo>
                <a:lnTo>
                  <a:pt x="66" y="166"/>
                </a:lnTo>
                <a:lnTo>
                  <a:pt x="62" y="171"/>
                </a:lnTo>
                <a:lnTo>
                  <a:pt x="53" y="171"/>
                </a:lnTo>
                <a:lnTo>
                  <a:pt x="48" y="167"/>
                </a:lnTo>
                <a:lnTo>
                  <a:pt x="46" y="167"/>
                </a:lnTo>
                <a:lnTo>
                  <a:pt x="45" y="169"/>
                </a:lnTo>
                <a:lnTo>
                  <a:pt x="46" y="171"/>
                </a:lnTo>
                <a:lnTo>
                  <a:pt x="52" y="178"/>
                </a:lnTo>
                <a:lnTo>
                  <a:pt x="58" y="186"/>
                </a:lnTo>
                <a:lnTo>
                  <a:pt x="61" y="188"/>
                </a:lnTo>
                <a:lnTo>
                  <a:pt x="59" y="195"/>
                </a:lnTo>
                <a:lnTo>
                  <a:pt x="58" y="198"/>
                </a:lnTo>
                <a:lnTo>
                  <a:pt x="56" y="199"/>
                </a:lnTo>
                <a:lnTo>
                  <a:pt x="53" y="198"/>
                </a:lnTo>
                <a:lnTo>
                  <a:pt x="51" y="198"/>
                </a:lnTo>
                <a:lnTo>
                  <a:pt x="48" y="201"/>
                </a:lnTo>
                <a:lnTo>
                  <a:pt x="43" y="204"/>
                </a:lnTo>
                <a:lnTo>
                  <a:pt x="40" y="204"/>
                </a:lnTo>
                <a:lnTo>
                  <a:pt x="37" y="205"/>
                </a:lnTo>
                <a:lnTo>
                  <a:pt x="35" y="205"/>
                </a:lnTo>
                <a:lnTo>
                  <a:pt x="34" y="202"/>
                </a:lnTo>
                <a:lnTo>
                  <a:pt x="31" y="202"/>
                </a:lnTo>
                <a:lnTo>
                  <a:pt x="27" y="206"/>
                </a:lnTo>
                <a:lnTo>
                  <a:pt x="29" y="209"/>
                </a:lnTo>
                <a:lnTo>
                  <a:pt x="32" y="210"/>
                </a:lnTo>
                <a:lnTo>
                  <a:pt x="34" y="215"/>
                </a:lnTo>
                <a:lnTo>
                  <a:pt x="35" y="218"/>
                </a:lnTo>
                <a:lnTo>
                  <a:pt x="35" y="223"/>
                </a:lnTo>
                <a:lnTo>
                  <a:pt x="34" y="226"/>
                </a:lnTo>
                <a:lnTo>
                  <a:pt x="31" y="226"/>
                </a:lnTo>
                <a:lnTo>
                  <a:pt x="30" y="223"/>
                </a:lnTo>
                <a:lnTo>
                  <a:pt x="29" y="218"/>
                </a:lnTo>
                <a:lnTo>
                  <a:pt x="26" y="217"/>
                </a:lnTo>
                <a:lnTo>
                  <a:pt x="23" y="217"/>
                </a:lnTo>
                <a:lnTo>
                  <a:pt x="14" y="225"/>
                </a:lnTo>
                <a:lnTo>
                  <a:pt x="13" y="229"/>
                </a:lnTo>
                <a:lnTo>
                  <a:pt x="11" y="232"/>
                </a:lnTo>
                <a:lnTo>
                  <a:pt x="11" y="239"/>
                </a:lnTo>
                <a:lnTo>
                  <a:pt x="9" y="242"/>
                </a:lnTo>
                <a:lnTo>
                  <a:pt x="4" y="242"/>
                </a:lnTo>
                <a:lnTo>
                  <a:pt x="2" y="244"/>
                </a:lnTo>
                <a:lnTo>
                  <a:pt x="2" y="253"/>
                </a:lnTo>
                <a:lnTo>
                  <a:pt x="0" y="254"/>
                </a:lnTo>
                <a:lnTo>
                  <a:pt x="0" y="258"/>
                </a:lnTo>
                <a:lnTo>
                  <a:pt x="3" y="263"/>
                </a:lnTo>
                <a:lnTo>
                  <a:pt x="5" y="265"/>
                </a:lnTo>
                <a:lnTo>
                  <a:pt x="5" y="270"/>
                </a:lnTo>
                <a:lnTo>
                  <a:pt x="0" y="277"/>
                </a:lnTo>
                <a:lnTo>
                  <a:pt x="0" y="285"/>
                </a:lnTo>
                <a:lnTo>
                  <a:pt x="16" y="297"/>
                </a:lnTo>
                <a:lnTo>
                  <a:pt x="27" y="308"/>
                </a:lnTo>
                <a:lnTo>
                  <a:pt x="36" y="314"/>
                </a:lnTo>
                <a:lnTo>
                  <a:pt x="42" y="326"/>
                </a:lnTo>
                <a:lnTo>
                  <a:pt x="48" y="331"/>
                </a:lnTo>
                <a:lnTo>
                  <a:pt x="53" y="315"/>
                </a:lnTo>
                <a:lnTo>
                  <a:pt x="51" y="304"/>
                </a:lnTo>
                <a:lnTo>
                  <a:pt x="56" y="290"/>
                </a:lnTo>
                <a:lnTo>
                  <a:pt x="63" y="285"/>
                </a:lnTo>
                <a:lnTo>
                  <a:pt x="69" y="275"/>
                </a:lnTo>
                <a:lnTo>
                  <a:pt x="77" y="282"/>
                </a:lnTo>
                <a:lnTo>
                  <a:pt x="91" y="284"/>
                </a:lnTo>
                <a:lnTo>
                  <a:pt x="97" y="295"/>
                </a:lnTo>
                <a:lnTo>
                  <a:pt x="107" y="299"/>
                </a:lnTo>
                <a:lnTo>
                  <a:pt x="120" y="315"/>
                </a:lnTo>
                <a:lnTo>
                  <a:pt x="121" y="317"/>
                </a:lnTo>
                <a:lnTo>
                  <a:pt x="126" y="317"/>
                </a:lnTo>
                <a:lnTo>
                  <a:pt x="129" y="314"/>
                </a:lnTo>
                <a:lnTo>
                  <a:pt x="129" y="306"/>
                </a:lnTo>
                <a:lnTo>
                  <a:pt x="147" y="299"/>
                </a:lnTo>
                <a:lnTo>
                  <a:pt x="150" y="301"/>
                </a:lnTo>
                <a:lnTo>
                  <a:pt x="156" y="308"/>
                </a:lnTo>
                <a:lnTo>
                  <a:pt x="159" y="308"/>
                </a:lnTo>
                <a:lnTo>
                  <a:pt x="159" y="303"/>
                </a:lnTo>
                <a:lnTo>
                  <a:pt x="166" y="298"/>
                </a:lnTo>
                <a:lnTo>
                  <a:pt x="182" y="302"/>
                </a:lnTo>
                <a:lnTo>
                  <a:pt x="186" y="298"/>
                </a:lnTo>
                <a:lnTo>
                  <a:pt x="201" y="301"/>
                </a:lnTo>
                <a:lnTo>
                  <a:pt x="212" y="299"/>
                </a:lnTo>
                <a:lnTo>
                  <a:pt x="218" y="302"/>
                </a:lnTo>
                <a:lnTo>
                  <a:pt x="218" y="277"/>
                </a:lnTo>
                <a:lnTo>
                  <a:pt x="230" y="253"/>
                </a:lnTo>
                <a:lnTo>
                  <a:pt x="241" y="241"/>
                </a:lnTo>
                <a:lnTo>
                  <a:pt x="226" y="225"/>
                </a:lnTo>
                <a:lnTo>
                  <a:pt x="218" y="210"/>
                </a:lnTo>
                <a:lnTo>
                  <a:pt x="215" y="188"/>
                </a:lnTo>
                <a:lnTo>
                  <a:pt x="218" y="167"/>
                </a:lnTo>
                <a:lnTo>
                  <a:pt x="235" y="159"/>
                </a:lnTo>
                <a:lnTo>
                  <a:pt x="225" y="157"/>
                </a:lnTo>
                <a:lnTo>
                  <a:pt x="218" y="141"/>
                </a:lnTo>
                <a:lnTo>
                  <a:pt x="228" y="130"/>
                </a:lnTo>
                <a:lnTo>
                  <a:pt x="220" y="119"/>
                </a:lnTo>
                <a:lnTo>
                  <a:pt x="209" y="128"/>
                </a:lnTo>
                <a:lnTo>
                  <a:pt x="181" y="118"/>
                </a:lnTo>
                <a:lnTo>
                  <a:pt x="166" y="105"/>
                </a:lnTo>
                <a:lnTo>
                  <a:pt x="165" y="91"/>
                </a:lnTo>
                <a:lnTo>
                  <a:pt x="163" y="81"/>
                </a:lnTo>
                <a:lnTo>
                  <a:pt x="154" y="76"/>
                </a:lnTo>
                <a:lnTo>
                  <a:pt x="143" y="73"/>
                </a:lnTo>
                <a:lnTo>
                  <a:pt x="134" y="60"/>
                </a:lnTo>
                <a:lnTo>
                  <a:pt x="129" y="42"/>
                </a:lnTo>
                <a:lnTo>
                  <a:pt x="124" y="29"/>
                </a:lnTo>
                <a:lnTo>
                  <a:pt x="113" y="17"/>
                </a:lnTo>
                <a:lnTo>
                  <a:pt x="99" y="11"/>
                </a:lnTo>
                <a:lnTo>
                  <a:pt x="94" y="7"/>
                </a:lnTo>
                <a:lnTo>
                  <a:pt x="90" y="0"/>
                </a:lnTo>
                <a:lnTo>
                  <a:pt x="78" y="5"/>
                </a:lnTo>
                <a:lnTo>
                  <a:pt x="66" y="5"/>
                </a:lnTo>
                <a:lnTo>
                  <a:pt x="50" y="16"/>
                </a:lnTo>
                <a:lnTo>
                  <a:pt x="35" y="16"/>
                </a:lnTo>
                <a:lnTo>
                  <a:pt x="29" y="21"/>
                </a:lnTo>
                <a:lnTo>
                  <a:pt x="14"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5" name="Freeform 1586"/>
          <p:cNvSpPr>
            <a:spLocks/>
          </p:cNvSpPr>
          <p:nvPr userDrawn="1"/>
        </p:nvSpPr>
        <p:spPr bwMode="auto">
          <a:xfrm>
            <a:off x="4672727" y="3372036"/>
            <a:ext cx="110082" cy="59978"/>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6" name="Freeform 1587"/>
          <p:cNvSpPr>
            <a:spLocks/>
          </p:cNvSpPr>
          <p:nvPr userDrawn="1"/>
        </p:nvSpPr>
        <p:spPr bwMode="auto">
          <a:xfrm>
            <a:off x="4603008" y="3460003"/>
            <a:ext cx="62381" cy="49982"/>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7" name="Freeform 1588"/>
          <p:cNvSpPr>
            <a:spLocks/>
          </p:cNvSpPr>
          <p:nvPr userDrawn="1"/>
        </p:nvSpPr>
        <p:spPr bwMode="auto">
          <a:xfrm>
            <a:off x="4746116" y="3599951"/>
            <a:ext cx="47703" cy="41984"/>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8" name="Freeform 1589"/>
          <p:cNvSpPr>
            <a:spLocks/>
          </p:cNvSpPr>
          <p:nvPr userDrawn="1"/>
        </p:nvSpPr>
        <p:spPr bwMode="auto">
          <a:xfrm>
            <a:off x="4738778" y="3414021"/>
            <a:ext cx="190811" cy="145946"/>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9" name="Freeform 1590"/>
          <p:cNvSpPr>
            <a:spLocks/>
          </p:cNvSpPr>
          <p:nvPr userDrawn="1"/>
        </p:nvSpPr>
        <p:spPr bwMode="auto">
          <a:xfrm>
            <a:off x="4802994" y="2990178"/>
            <a:ext cx="99075" cy="87967"/>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0" name="Freeform 1591"/>
          <p:cNvSpPr>
            <a:spLocks/>
          </p:cNvSpPr>
          <p:nvPr userDrawn="1"/>
        </p:nvSpPr>
        <p:spPr bwMode="auto">
          <a:xfrm>
            <a:off x="4746116" y="2444380"/>
            <a:ext cx="218332" cy="535801"/>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1" name="Freeform 1592"/>
          <p:cNvSpPr>
            <a:spLocks/>
          </p:cNvSpPr>
          <p:nvPr userDrawn="1"/>
        </p:nvSpPr>
        <p:spPr bwMode="auto">
          <a:xfrm>
            <a:off x="4494760" y="3070148"/>
            <a:ext cx="56876" cy="11395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2" name="Freeform 1593"/>
          <p:cNvSpPr>
            <a:spLocks/>
          </p:cNvSpPr>
          <p:nvPr userDrawn="1"/>
        </p:nvSpPr>
        <p:spPr bwMode="auto">
          <a:xfrm>
            <a:off x="4434215" y="2378404"/>
            <a:ext cx="522894" cy="679748"/>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3" name="Freeform 1594"/>
          <p:cNvSpPr>
            <a:spLocks/>
          </p:cNvSpPr>
          <p:nvPr userDrawn="1"/>
        </p:nvSpPr>
        <p:spPr bwMode="auto">
          <a:xfrm>
            <a:off x="4555307" y="2506358"/>
            <a:ext cx="262365" cy="655757"/>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4" name="Freeform 1596"/>
          <p:cNvSpPr>
            <a:spLocks/>
          </p:cNvSpPr>
          <p:nvPr userDrawn="1"/>
        </p:nvSpPr>
        <p:spPr bwMode="auto">
          <a:xfrm>
            <a:off x="4547967" y="1568705"/>
            <a:ext cx="216497" cy="373861"/>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5" name="Freeform 1597"/>
          <p:cNvSpPr>
            <a:spLocks/>
          </p:cNvSpPr>
          <p:nvPr userDrawn="1"/>
        </p:nvSpPr>
        <p:spPr bwMode="auto">
          <a:xfrm>
            <a:off x="4738778" y="1732644"/>
            <a:ext cx="45868" cy="4598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6" name="Freeform 1598"/>
          <p:cNvSpPr>
            <a:spLocks/>
          </p:cNvSpPr>
          <p:nvPr userDrawn="1"/>
        </p:nvSpPr>
        <p:spPr bwMode="auto">
          <a:xfrm>
            <a:off x="4801159" y="1788624"/>
            <a:ext cx="1834" cy="1999"/>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7" name="Freeform 1599"/>
          <p:cNvSpPr>
            <a:spLocks/>
          </p:cNvSpPr>
          <p:nvPr userDrawn="1"/>
        </p:nvSpPr>
        <p:spPr bwMode="auto">
          <a:xfrm>
            <a:off x="4801159" y="1790623"/>
            <a:ext cx="1834" cy="199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8" name="Freeform 1600"/>
          <p:cNvSpPr>
            <a:spLocks/>
          </p:cNvSpPr>
          <p:nvPr userDrawn="1"/>
        </p:nvSpPr>
        <p:spPr bwMode="auto">
          <a:xfrm>
            <a:off x="4751621" y="1768631"/>
            <a:ext cx="82562" cy="107960"/>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9" name="Freeform 1601"/>
          <p:cNvSpPr>
            <a:spLocks/>
          </p:cNvSpPr>
          <p:nvPr userDrawn="1"/>
        </p:nvSpPr>
        <p:spPr bwMode="auto">
          <a:xfrm>
            <a:off x="4698414" y="1568704"/>
            <a:ext cx="181638" cy="10396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pic>
        <p:nvPicPr>
          <p:cNvPr id="670" name="Grafik 66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32947" y="4019209"/>
            <a:ext cx="535073" cy="149318"/>
          </a:xfrm>
          <a:prstGeom prst="rect">
            <a:avLst/>
          </a:prstGeom>
        </p:spPr>
      </p:pic>
      <p:pic>
        <p:nvPicPr>
          <p:cNvPr id="671" name="Grafik 67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436643" y="2220689"/>
            <a:ext cx="502161" cy="152290"/>
          </a:xfrm>
          <a:prstGeom prst="rect">
            <a:avLst/>
          </a:prstGeom>
        </p:spPr>
      </p:pic>
      <p:pic>
        <p:nvPicPr>
          <p:cNvPr id="673" name="Grafik 67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690157" y="1988840"/>
            <a:ext cx="544586" cy="159876"/>
          </a:xfrm>
          <a:prstGeom prst="rect">
            <a:avLst/>
          </a:prstGeom>
        </p:spPr>
      </p:pic>
      <p:pic>
        <p:nvPicPr>
          <p:cNvPr id="674" name="Grafik 67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356332" y="4120395"/>
            <a:ext cx="512383" cy="148860"/>
          </a:xfrm>
          <a:prstGeom prst="rect">
            <a:avLst/>
          </a:prstGeom>
        </p:spPr>
      </p:pic>
      <p:pic>
        <p:nvPicPr>
          <p:cNvPr id="676" name="Grafik 67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084605" y="1812889"/>
            <a:ext cx="547364" cy="160692"/>
          </a:xfrm>
          <a:prstGeom prst="rect">
            <a:avLst/>
          </a:prstGeom>
        </p:spPr>
      </p:pic>
      <p:pic>
        <p:nvPicPr>
          <p:cNvPr id="677" name="Grafik 67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3352499" y="3933056"/>
            <a:ext cx="554812" cy="153366"/>
          </a:xfrm>
          <a:prstGeom prst="rect">
            <a:avLst/>
          </a:prstGeom>
        </p:spPr>
      </p:pic>
      <p:pic>
        <p:nvPicPr>
          <p:cNvPr id="678" name="Grafik 677"/>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239489" y="3061754"/>
            <a:ext cx="864309" cy="180727"/>
          </a:xfrm>
          <a:prstGeom prst="rect">
            <a:avLst/>
          </a:prstGeom>
        </p:spPr>
      </p:pic>
      <p:pic>
        <p:nvPicPr>
          <p:cNvPr id="679" name="Grafik 67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874938" y="2385643"/>
            <a:ext cx="510233" cy="151380"/>
          </a:xfrm>
          <a:prstGeom prst="rect">
            <a:avLst/>
          </a:prstGeom>
        </p:spPr>
      </p:pic>
      <p:pic>
        <p:nvPicPr>
          <p:cNvPr id="680" name="Grafik 679"/>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370767" y="3517502"/>
            <a:ext cx="424940" cy="154905"/>
          </a:xfrm>
          <a:prstGeom prst="rect">
            <a:avLst/>
          </a:prstGeom>
        </p:spPr>
      </p:pic>
      <p:pic>
        <p:nvPicPr>
          <p:cNvPr id="681" name="Grafik 680"/>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368871" y="3719489"/>
            <a:ext cx="426836" cy="155596"/>
          </a:xfrm>
          <a:prstGeom prst="rect">
            <a:avLst/>
          </a:prstGeom>
        </p:spPr>
      </p:pic>
      <p:cxnSp>
        <p:nvCxnSpPr>
          <p:cNvPr id="682" name="Gerade Verbindung 681"/>
          <p:cNvCxnSpPr/>
          <p:nvPr userDrawn="1"/>
        </p:nvCxnSpPr>
        <p:spPr>
          <a:xfrm>
            <a:off x="1711033" y="4075695"/>
            <a:ext cx="542799"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3" name="Gerade Verbindung 682"/>
          <p:cNvCxnSpPr/>
          <p:nvPr userDrawn="1"/>
        </p:nvCxnSpPr>
        <p:spPr>
          <a:xfrm>
            <a:off x="4971490" y="2119815"/>
            <a:ext cx="1256" cy="125222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4" name="Gewinkelte Verbindung 649"/>
          <p:cNvCxnSpPr/>
          <p:nvPr userDrawn="1"/>
        </p:nvCxnSpPr>
        <p:spPr>
          <a:xfrm flipV="1">
            <a:off x="5041023" y="1944655"/>
            <a:ext cx="320786" cy="1016171"/>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5" name="Gerade Verbindung 684"/>
          <p:cNvCxnSpPr/>
          <p:nvPr userDrawn="1"/>
        </p:nvCxnSpPr>
        <p:spPr>
          <a:xfrm>
            <a:off x="4703919" y="2344272"/>
            <a:ext cx="7714" cy="91343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6" name="Gewinkelte Verbindung 685"/>
          <p:cNvCxnSpPr/>
          <p:nvPr userDrawn="1"/>
        </p:nvCxnSpPr>
        <p:spPr>
          <a:xfrm flipV="1">
            <a:off x="3949849" y="3780141"/>
            <a:ext cx="571578" cy="388386"/>
          </a:xfrm>
          <a:prstGeom prst="bentConnector3">
            <a:avLst>
              <a:gd name="adj1" fmla="val 99444"/>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7" name="Gewinkelte Verbindung 652"/>
          <p:cNvCxnSpPr/>
          <p:nvPr userDrawn="1"/>
        </p:nvCxnSpPr>
        <p:spPr>
          <a:xfrm>
            <a:off x="4395686" y="2454483"/>
            <a:ext cx="243159" cy="87913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8" name="Gewinkelte Verbindung 653"/>
          <p:cNvCxnSpPr>
            <a:stCxn id="692" idx="0"/>
          </p:cNvCxnSpPr>
          <p:nvPr userDrawn="1"/>
        </p:nvCxnSpPr>
        <p:spPr>
          <a:xfrm rot="16200000" flipV="1">
            <a:off x="4233944" y="2996390"/>
            <a:ext cx="187077" cy="40257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9" name="Gewinkelte Verbindung 688"/>
          <p:cNvCxnSpPr>
            <a:endCxn id="637" idx="45"/>
          </p:cNvCxnSpPr>
          <p:nvPr userDrawn="1"/>
        </p:nvCxnSpPr>
        <p:spPr>
          <a:xfrm rot="10800000">
            <a:off x="4126196" y="3170271"/>
            <a:ext cx="297927" cy="163526"/>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0" name="Gewinkelte Verbindung 689"/>
          <p:cNvCxnSpPr/>
          <p:nvPr userDrawn="1"/>
        </p:nvCxnSpPr>
        <p:spPr>
          <a:xfrm rot="16200000" flipV="1">
            <a:off x="3958514" y="3317489"/>
            <a:ext cx="385988" cy="255078"/>
          </a:xfrm>
          <a:prstGeom prst="bentConnector3">
            <a:avLst>
              <a:gd name="adj1" fmla="val -81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91" name="Oval 1609"/>
          <p:cNvSpPr>
            <a:spLocks noChangeArrowheads="1"/>
          </p:cNvSpPr>
          <p:nvPr userDrawn="1"/>
        </p:nvSpPr>
        <p:spPr bwMode="auto">
          <a:xfrm>
            <a:off x="2225702" y="4041167"/>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2" name="Oval 1750"/>
          <p:cNvSpPr>
            <a:spLocks noChangeArrowheads="1"/>
          </p:cNvSpPr>
          <p:nvPr userDrawn="1"/>
        </p:nvSpPr>
        <p:spPr bwMode="auto">
          <a:xfrm>
            <a:off x="4500635" y="329121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3" name="Oval 1798"/>
          <p:cNvSpPr>
            <a:spLocks noChangeArrowheads="1"/>
          </p:cNvSpPr>
          <p:nvPr userDrawn="1"/>
        </p:nvSpPr>
        <p:spPr bwMode="auto">
          <a:xfrm>
            <a:off x="4401189" y="330332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4" name="Oval 1979"/>
          <p:cNvSpPr>
            <a:spLocks noChangeArrowheads="1"/>
          </p:cNvSpPr>
          <p:nvPr userDrawn="1"/>
        </p:nvSpPr>
        <p:spPr bwMode="auto">
          <a:xfrm>
            <a:off x="4493296" y="378014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5" name="Oval 1751"/>
          <p:cNvSpPr>
            <a:spLocks noChangeArrowheads="1"/>
          </p:cNvSpPr>
          <p:nvPr userDrawn="1"/>
        </p:nvSpPr>
        <p:spPr bwMode="auto">
          <a:xfrm>
            <a:off x="4682874" y="323821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6" name="Oval 1752"/>
          <p:cNvSpPr>
            <a:spLocks noChangeArrowheads="1"/>
          </p:cNvSpPr>
          <p:nvPr userDrawn="1"/>
        </p:nvSpPr>
        <p:spPr bwMode="auto">
          <a:xfrm>
            <a:off x="4944614" y="3350839"/>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7" name="Oval 1761"/>
          <p:cNvSpPr>
            <a:spLocks noChangeArrowheads="1"/>
          </p:cNvSpPr>
          <p:nvPr userDrawn="1"/>
        </p:nvSpPr>
        <p:spPr bwMode="auto">
          <a:xfrm>
            <a:off x="4610713" y="3322956"/>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8" name="Oval 1798"/>
          <p:cNvSpPr>
            <a:spLocks noChangeArrowheads="1"/>
          </p:cNvSpPr>
          <p:nvPr userDrawn="1"/>
        </p:nvSpPr>
        <p:spPr bwMode="auto">
          <a:xfrm>
            <a:off x="5019883" y="293035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9" name="Oval 1835"/>
          <p:cNvSpPr>
            <a:spLocks noChangeArrowheads="1"/>
          </p:cNvSpPr>
          <p:nvPr userDrawn="1"/>
        </p:nvSpPr>
        <p:spPr bwMode="auto">
          <a:xfrm>
            <a:off x="4249903" y="360789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700" name="Gerade Verbindung 699"/>
          <p:cNvCxnSpPr/>
          <p:nvPr userDrawn="1"/>
        </p:nvCxnSpPr>
        <p:spPr>
          <a:xfrm flipH="1">
            <a:off x="3949850" y="3495803"/>
            <a:ext cx="866563" cy="468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1" name="Gewinkelte Verbindung 700"/>
          <p:cNvCxnSpPr/>
          <p:nvPr userDrawn="1"/>
        </p:nvCxnSpPr>
        <p:spPr>
          <a:xfrm flipV="1">
            <a:off x="3949849" y="3584350"/>
            <a:ext cx="883468" cy="220944"/>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2" name="Oval 1805"/>
          <p:cNvSpPr>
            <a:spLocks noChangeArrowheads="1"/>
          </p:cNvSpPr>
          <p:nvPr userDrawn="1"/>
        </p:nvSpPr>
        <p:spPr bwMode="auto">
          <a:xfrm>
            <a:off x="4791729" y="345816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03" name="Oval 1796"/>
          <p:cNvSpPr>
            <a:spLocks noChangeArrowheads="1"/>
          </p:cNvSpPr>
          <p:nvPr userDrawn="1"/>
        </p:nvSpPr>
        <p:spPr bwMode="auto">
          <a:xfrm>
            <a:off x="4805182" y="355754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704" name="Gewinkelte Verbindung 675"/>
          <p:cNvCxnSpPr>
            <a:stCxn id="705" idx="4"/>
          </p:cNvCxnSpPr>
          <p:nvPr userDrawn="1"/>
        </p:nvCxnSpPr>
        <p:spPr>
          <a:xfrm rot="5400000" flipH="1">
            <a:off x="4301984" y="3005217"/>
            <a:ext cx="175887" cy="669522"/>
          </a:xfrm>
          <a:prstGeom prst="bentConnector4">
            <a:avLst>
              <a:gd name="adj1" fmla="val 11947"/>
              <a:gd name="adj2" fmla="val 99509"/>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5" name="Oval 1753"/>
          <p:cNvSpPr>
            <a:spLocks noChangeArrowheads="1"/>
          </p:cNvSpPr>
          <p:nvPr userDrawn="1"/>
        </p:nvSpPr>
        <p:spPr bwMode="auto">
          <a:xfrm>
            <a:off x="4696558" y="336697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706" name="Gewinkelte Verbindung 4"/>
          <p:cNvCxnSpPr/>
          <p:nvPr userDrawn="1"/>
        </p:nvCxnSpPr>
        <p:spPr>
          <a:xfrm rot="5400000">
            <a:off x="4019156" y="3823863"/>
            <a:ext cx="94601" cy="264906"/>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7" name="Gerade Verbindung 706"/>
          <p:cNvCxnSpPr/>
          <p:nvPr userDrawn="1"/>
        </p:nvCxnSpPr>
        <p:spPr>
          <a:xfrm flipV="1">
            <a:off x="6849520" y="3613618"/>
            <a:ext cx="473286" cy="308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8" name="Gerade Verbindung 707"/>
          <p:cNvCxnSpPr/>
          <p:nvPr userDrawn="1"/>
        </p:nvCxnSpPr>
        <p:spPr>
          <a:xfrm flipV="1">
            <a:off x="6630600" y="3809680"/>
            <a:ext cx="692206" cy="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9" name="Oval 1642"/>
          <p:cNvSpPr>
            <a:spLocks noChangeArrowheads="1"/>
          </p:cNvSpPr>
          <p:nvPr userDrawn="1"/>
        </p:nvSpPr>
        <p:spPr bwMode="auto">
          <a:xfrm>
            <a:off x="6608007" y="3772548"/>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10" name="Oval 1642"/>
          <p:cNvSpPr>
            <a:spLocks noChangeArrowheads="1"/>
          </p:cNvSpPr>
          <p:nvPr userDrawn="1"/>
        </p:nvSpPr>
        <p:spPr bwMode="auto">
          <a:xfrm>
            <a:off x="6821390" y="358407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11" name="Oval 1845"/>
          <p:cNvSpPr>
            <a:spLocks noChangeArrowheads="1"/>
          </p:cNvSpPr>
          <p:nvPr userDrawn="1"/>
        </p:nvSpPr>
        <p:spPr bwMode="auto">
          <a:xfrm>
            <a:off x="4166733" y="385699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12" name="Line 13"/>
          <p:cNvSpPr>
            <a:spLocks noChangeShapeType="1"/>
          </p:cNvSpPr>
          <p:nvPr userDrawn="1">
            <p:custDataLst>
              <p:tags r:id="rId2"/>
            </p:custDataLst>
          </p:nvPr>
        </p:nvSpPr>
        <p:spPr bwMode="auto">
          <a:xfrm>
            <a:off x="384458" y="6165304"/>
            <a:ext cx="8507077" cy="0"/>
          </a:xfrm>
          <a:prstGeom prst="line">
            <a:avLst/>
          </a:prstGeom>
          <a:noFill/>
          <a:ln w="12700">
            <a:solidFill>
              <a:schemeClr val="bg1">
                <a:lumMod val="75000"/>
              </a:schemeClr>
            </a:solidFill>
            <a:round/>
            <a:headEnd/>
            <a:tailEnd/>
          </a:ln>
          <a:effectLst/>
        </p:spPr>
        <p:txBody>
          <a:bodyPr/>
          <a:lstStyle/>
          <a:p>
            <a:endParaRPr lang="en-US"/>
          </a:p>
        </p:txBody>
      </p:sp>
      <p:pic>
        <p:nvPicPr>
          <p:cNvPr id="339" name="Grafik 33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356800" y="3738977"/>
            <a:ext cx="566875" cy="166420"/>
          </a:xfrm>
          <a:prstGeom prst="rect">
            <a:avLst/>
          </a:prstGeom>
        </p:spPr>
      </p:pic>
      <p:pic>
        <p:nvPicPr>
          <p:cNvPr id="340" name="Grafik 339"/>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352499" y="3436315"/>
            <a:ext cx="540986" cy="158820"/>
          </a:xfrm>
          <a:prstGeom prst="rect">
            <a:avLst/>
          </a:prstGeom>
        </p:spPr>
      </p:pic>
      <p:pic>
        <p:nvPicPr>
          <p:cNvPr id="342" name="Grafik 341"/>
          <p:cNvPicPr>
            <a:picLocks noChangeAspect="1"/>
          </p:cNvPicPr>
          <p:nvPr userDrawn="1"/>
        </p:nvPicPr>
        <p:blipFill rotWithShape="1">
          <a:blip r:embed="rId16" cstate="print">
            <a:extLst>
              <a:ext uri="{28A0092B-C50C-407E-A947-70E740481C1C}">
                <a14:useLocalDpi xmlns:a14="http://schemas.microsoft.com/office/drawing/2010/main" val="0"/>
              </a:ext>
            </a:extLst>
          </a:blip>
          <a:srcRect t="18454" r="22519"/>
          <a:stretch/>
        </p:blipFill>
        <p:spPr>
          <a:xfrm>
            <a:off x="5429264" y="4453954"/>
            <a:ext cx="474057" cy="163179"/>
          </a:xfrm>
          <a:prstGeom prst="rect">
            <a:avLst/>
          </a:prstGeom>
        </p:spPr>
      </p:pic>
      <p:cxnSp>
        <p:nvCxnSpPr>
          <p:cNvPr id="343" name="Gerade Verbindung 342"/>
          <p:cNvCxnSpPr/>
          <p:nvPr userDrawn="1"/>
        </p:nvCxnSpPr>
        <p:spPr>
          <a:xfrm flipH="1">
            <a:off x="5492075" y="3846126"/>
            <a:ext cx="1" cy="58813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4" name="Gerade Verbindung 343"/>
          <p:cNvCxnSpPr/>
          <p:nvPr userDrawn="1"/>
        </p:nvCxnSpPr>
        <p:spPr>
          <a:xfrm>
            <a:off x="5037284" y="3847013"/>
            <a:ext cx="454364" cy="9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45" name="Oval 1642"/>
          <p:cNvSpPr>
            <a:spLocks noChangeArrowheads="1"/>
          </p:cNvSpPr>
          <p:nvPr userDrawn="1"/>
        </p:nvSpPr>
        <p:spPr bwMode="auto">
          <a:xfrm>
            <a:off x="5004048" y="382504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347" name="AutoShape 23">
            <a:hlinkClick r:id="rId17" tooltip="Sumitomo Electric Bordnetze GmbH - Zentrale - Google Maps"/>
          </p:cNvPr>
          <p:cNvSpPr>
            <a:spLocks noChangeArrowheads="1"/>
          </p:cNvSpPr>
          <p:nvPr userDrawn="1"/>
        </p:nvSpPr>
        <p:spPr bwMode="auto">
          <a:xfrm>
            <a:off x="460765" y="764705"/>
            <a:ext cx="7643926" cy="720079"/>
          </a:xfrm>
          <a:prstGeom prst="roundRect">
            <a:avLst>
              <a:gd name="adj" fmla="val 0"/>
            </a:avLst>
          </a:prstGeom>
          <a:solidFill>
            <a:schemeClr val="bg1"/>
          </a:solidFill>
          <a:ln w="9525">
            <a:solidFill>
              <a:schemeClr val="bg1"/>
            </a:solidFill>
            <a:round/>
            <a:headEnd/>
            <a:tailEnd/>
          </a:ln>
          <a:effectLst/>
        </p:spPr>
        <p:txBody>
          <a:bodyPr wrap="none" lIns="0" rIns="0"/>
          <a:lstStyle/>
          <a:p>
            <a:pPr>
              <a:lnSpc>
                <a:spcPts val="1100"/>
              </a:lnSpc>
              <a:tabLst>
                <a:tab pos="266700" algn="l"/>
                <a:tab pos="1612900" algn="l"/>
              </a:tabLst>
            </a:pPr>
            <a:r>
              <a:rPr lang="en-US" sz="800" dirty="0" err="1" smtClean="0">
                <a:solidFill>
                  <a:schemeClr val="accent6"/>
                </a:solidFill>
              </a:rPr>
              <a:t>Brandgehaege</a:t>
            </a:r>
            <a:r>
              <a:rPr lang="en-US" sz="800" dirty="0" smtClean="0">
                <a:solidFill>
                  <a:schemeClr val="accent6"/>
                </a:solidFill>
              </a:rPr>
              <a:t> 11, 38444 Wolfsburg  -  </a:t>
            </a:r>
            <a:r>
              <a:rPr lang="en-US" sz="800" dirty="0" smtClean="0">
                <a:solidFill>
                  <a:schemeClr val="accent6"/>
                </a:solidFill>
                <a:hlinkClick r:id="rId18"/>
              </a:rPr>
              <a:t>www.sebn.com</a:t>
            </a:r>
            <a:r>
              <a:rPr lang="en-US" sz="800" dirty="0" smtClean="0">
                <a:solidFill>
                  <a:schemeClr val="accent6"/>
                </a:solidFill>
              </a:rPr>
              <a:t> -  </a:t>
            </a:r>
            <a:r>
              <a:rPr lang="en-US" sz="800" dirty="0" smtClean="0">
                <a:solidFill>
                  <a:schemeClr val="accent6"/>
                </a:solidFill>
                <a:hlinkClick r:id="rId19"/>
              </a:rPr>
              <a:t>info@sebn.com</a:t>
            </a:r>
            <a:r>
              <a:rPr lang="en-US" sz="800" dirty="0" smtClean="0">
                <a:solidFill>
                  <a:schemeClr val="accent6"/>
                </a:solidFill>
              </a:rPr>
              <a:t> </a:t>
            </a:r>
          </a:p>
          <a:p>
            <a:pPr>
              <a:lnSpc>
                <a:spcPts val="1100"/>
              </a:lnSpc>
              <a:tabLst>
                <a:tab pos="266700" algn="l"/>
                <a:tab pos="1612900" algn="l"/>
              </a:tabLst>
            </a:pPr>
            <a:r>
              <a:rPr lang="en-US" sz="800" b="1" dirty="0" smtClean="0">
                <a:solidFill>
                  <a:srgbClr val="004E9E"/>
                </a:solidFill>
                <a:sym typeface="Wingdings" pitchFamily="2" charset="2"/>
              </a:rPr>
              <a:t>Directorate: </a:t>
            </a:r>
            <a:r>
              <a:rPr lang="en-US" sz="800" dirty="0" err="1" smtClean="0">
                <a:solidFill>
                  <a:schemeClr val="accent6"/>
                </a:solidFill>
                <a:sym typeface="Wingdings" pitchFamily="2" charset="2"/>
              </a:rPr>
              <a:t>Yasumasa</a:t>
            </a:r>
            <a:r>
              <a:rPr lang="en-US" sz="800" dirty="0" smtClean="0">
                <a:solidFill>
                  <a:schemeClr val="accent6"/>
                </a:solidFill>
                <a:sym typeface="Wingdings" pitchFamily="2" charset="2"/>
              </a:rPr>
              <a:t> Ono (CEO), Minoru </a:t>
            </a:r>
            <a:r>
              <a:rPr lang="en-US" sz="800" dirty="0" err="1" smtClean="0">
                <a:solidFill>
                  <a:schemeClr val="accent6"/>
                </a:solidFill>
                <a:sym typeface="Wingdings" pitchFamily="2" charset="2"/>
              </a:rPr>
              <a:t>Fujitsuka</a:t>
            </a:r>
            <a:r>
              <a:rPr lang="en-US" sz="800" dirty="0" smtClean="0">
                <a:solidFill>
                  <a:schemeClr val="accent6"/>
                </a:solidFill>
                <a:sym typeface="Wingdings" pitchFamily="2" charset="2"/>
              </a:rPr>
              <a:t>, Oliver Schacht, René </a:t>
            </a:r>
            <a:r>
              <a:rPr lang="en-US" sz="800" dirty="0" err="1" smtClean="0">
                <a:solidFill>
                  <a:schemeClr val="accent6"/>
                </a:solidFill>
                <a:sym typeface="Wingdings" pitchFamily="2" charset="2"/>
              </a:rPr>
              <a:t>Zboralski</a:t>
            </a:r>
            <a:endParaRPr lang="en-US" sz="800" dirty="0" smtClean="0">
              <a:solidFill>
                <a:schemeClr val="accent6"/>
              </a:solidFill>
              <a:sym typeface="Wingdings" pitchFamily="2" charset="2"/>
            </a:endParaRPr>
          </a:p>
          <a:p>
            <a:pPr>
              <a:lnSpc>
                <a:spcPts val="1100"/>
              </a:lnSpc>
              <a:tabLst>
                <a:tab pos="266700" algn="l"/>
                <a:tab pos="1612900" algn="l"/>
              </a:tabLst>
            </a:pPr>
            <a:endParaRPr lang="en-US" sz="800" dirty="0" smtClean="0">
              <a:solidFill>
                <a:srgbClr val="004E9E"/>
              </a:solidFill>
              <a:sym typeface="Wingdings" pitchFamily="2" charset="2"/>
            </a:endParaRPr>
          </a:p>
          <a:p>
            <a:pPr>
              <a:lnSpc>
                <a:spcPts val="1100"/>
              </a:lnSpc>
              <a:tabLst>
                <a:tab pos="266700" algn="l"/>
                <a:tab pos="1612900" algn="l"/>
              </a:tabLst>
            </a:pPr>
            <a:r>
              <a:rPr lang="en-US" sz="800" dirty="0" smtClean="0">
                <a:sym typeface="Wingdings" pitchFamily="2" charset="2"/>
              </a:rPr>
              <a:t></a:t>
            </a:r>
            <a:r>
              <a:rPr lang="en-US" sz="800" dirty="0" smtClean="0"/>
              <a:t> 	+49 (0)5308 / 400 400   	</a:t>
            </a:r>
            <a:r>
              <a:rPr lang="en-US" sz="800" dirty="0" smtClean="0">
                <a:sym typeface="Wingdings 2" pitchFamily="18" charset="2"/>
              </a:rPr>
              <a:t></a:t>
            </a:r>
            <a:r>
              <a:rPr lang="en-US" sz="800" dirty="0" smtClean="0"/>
              <a:t> 	+49 (0)5308 / 400 419</a:t>
            </a:r>
            <a:endParaRPr lang="en-US" sz="800" dirty="0"/>
          </a:p>
        </p:txBody>
      </p:sp>
    </p:spTree>
    <p:extLst>
      <p:ext uri="{BB962C8B-B14F-4D97-AF65-F5344CB8AC3E}">
        <p14:creationId xmlns:p14="http://schemas.microsoft.com/office/powerpoint/2010/main" val="4091764939"/>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3-0-0">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Content</a:t>
            </a:r>
            <a:endParaRPr lang="en-US" dirty="0"/>
          </a:p>
        </p:txBody>
      </p:sp>
      <p:sp>
        <p:nvSpPr>
          <p:cNvPr id="6" name="Textplatzhalter 5"/>
          <p:cNvSpPr>
            <a:spLocks noGrp="1"/>
          </p:cNvSpPr>
          <p:nvPr>
            <p:ph type="body" sz="quarter" idx="12" hasCustomPrompt="1"/>
          </p:nvPr>
        </p:nvSpPr>
        <p:spPr>
          <a:xfrm>
            <a:off x="2987824" y="2492896"/>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7" name="Textplatzhalter 5"/>
          <p:cNvSpPr>
            <a:spLocks noGrp="1"/>
          </p:cNvSpPr>
          <p:nvPr>
            <p:ph type="body" sz="quarter" idx="13" hasCustomPrompt="1"/>
          </p:nvPr>
        </p:nvSpPr>
        <p:spPr>
          <a:xfrm>
            <a:off x="2988543" y="3573016"/>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8" name="Textplatzhalter 5"/>
          <p:cNvSpPr>
            <a:spLocks noGrp="1"/>
          </p:cNvSpPr>
          <p:nvPr>
            <p:ph type="body" sz="quarter" idx="14" hasCustomPrompt="1"/>
          </p:nvPr>
        </p:nvSpPr>
        <p:spPr>
          <a:xfrm>
            <a:off x="2988543" y="303300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9" name="Textplatzhalter 5"/>
          <p:cNvSpPr>
            <a:spLocks noGrp="1"/>
          </p:cNvSpPr>
          <p:nvPr>
            <p:ph type="body" sz="quarter" idx="21" hasCustomPrompt="1"/>
          </p:nvPr>
        </p:nvSpPr>
        <p:spPr>
          <a:xfrm>
            <a:off x="2985538" y="411312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1" name="Textplatzhalter 5"/>
          <p:cNvSpPr>
            <a:spLocks noGrp="1"/>
          </p:cNvSpPr>
          <p:nvPr>
            <p:ph type="body" sz="quarter" idx="22" hasCustomPrompt="1"/>
          </p:nvPr>
        </p:nvSpPr>
        <p:spPr>
          <a:xfrm>
            <a:off x="2986257" y="519324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2" name="Textplatzhalter 5"/>
          <p:cNvSpPr>
            <a:spLocks noGrp="1"/>
          </p:cNvSpPr>
          <p:nvPr>
            <p:ph type="body" sz="quarter" idx="23" hasCustomPrompt="1"/>
          </p:nvPr>
        </p:nvSpPr>
        <p:spPr>
          <a:xfrm>
            <a:off x="2986257" y="4653240"/>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Tree>
  </p:cSld>
  <p:clrMapOvr>
    <a:masterClrMapping/>
  </p:clrMapOvr>
  <p:transition/>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3-0-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Content</a:t>
            </a:r>
            <a:endParaRPr lang="en-US" dirty="0"/>
          </a:p>
        </p:txBody>
      </p:sp>
      <p:sp>
        <p:nvSpPr>
          <p:cNvPr id="9" name="Textplatzhalter 5"/>
          <p:cNvSpPr>
            <a:spLocks noGrp="1"/>
          </p:cNvSpPr>
          <p:nvPr>
            <p:ph type="body" sz="quarter" idx="21" hasCustomPrompt="1"/>
          </p:nvPr>
        </p:nvSpPr>
        <p:spPr>
          <a:xfrm>
            <a:off x="2987824" y="2492896"/>
            <a:ext cx="5220000" cy="468000"/>
          </a:xfrm>
          <a:solidFill>
            <a:schemeClr val="tx1"/>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bg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1" name="Textplatzhalter 5"/>
          <p:cNvSpPr>
            <a:spLocks noGrp="1"/>
          </p:cNvSpPr>
          <p:nvPr>
            <p:ph type="body" sz="quarter" idx="22" hasCustomPrompt="1"/>
          </p:nvPr>
        </p:nvSpPr>
        <p:spPr>
          <a:xfrm>
            <a:off x="2988543" y="3573016"/>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2" name="Textplatzhalter 5"/>
          <p:cNvSpPr>
            <a:spLocks noGrp="1"/>
          </p:cNvSpPr>
          <p:nvPr>
            <p:ph type="body" sz="quarter" idx="23" hasCustomPrompt="1"/>
          </p:nvPr>
        </p:nvSpPr>
        <p:spPr>
          <a:xfrm>
            <a:off x="2988543" y="303300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3" name="Textplatzhalter 5"/>
          <p:cNvSpPr>
            <a:spLocks noGrp="1"/>
          </p:cNvSpPr>
          <p:nvPr>
            <p:ph type="body" sz="quarter" idx="15" hasCustomPrompt="1"/>
          </p:nvPr>
        </p:nvSpPr>
        <p:spPr>
          <a:xfrm>
            <a:off x="2988543" y="411312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6" name="Textplatzhalter 5"/>
          <p:cNvSpPr>
            <a:spLocks noGrp="1"/>
          </p:cNvSpPr>
          <p:nvPr>
            <p:ph type="body" sz="quarter" idx="16" hasCustomPrompt="1"/>
          </p:nvPr>
        </p:nvSpPr>
        <p:spPr>
          <a:xfrm>
            <a:off x="2988543" y="4653136"/>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7" name="Textplatzhalter 5"/>
          <p:cNvSpPr>
            <a:spLocks noGrp="1"/>
          </p:cNvSpPr>
          <p:nvPr>
            <p:ph type="body" sz="quarter" idx="17" hasCustomPrompt="1"/>
          </p:nvPr>
        </p:nvSpPr>
        <p:spPr>
          <a:xfrm>
            <a:off x="2988543" y="519324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Tree>
  </p:cSld>
  <p:clrMapOvr>
    <a:masterClrMapping/>
  </p:clrMapOvr>
  <p:transition/>
  <p:hf hdr="0" ft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eneral Inpu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a:defRPr sz="1200">
                <a:solidFill>
                  <a:schemeClr val="accent6"/>
                </a:solidFill>
              </a:defRPr>
            </a:lvl1pPr>
            <a:lvl2pPr>
              <a:buClr>
                <a:srgbClr val="08398A"/>
              </a:buClr>
              <a:buFont typeface="Arial" pitchFamily="34" charset="0"/>
              <a:buChar char="■"/>
              <a:defRPr sz="1200">
                <a:solidFill>
                  <a:schemeClr val="accent6"/>
                </a:solidFill>
              </a:defRPr>
            </a:lvl2pPr>
            <a:lvl3pPr>
              <a:buClr>
                <a:srgbClr val="08398A"/>
              </a:buClr>
              <a:buFont typeface="Arial" pitchFamily="34" charset="0"/>
              <a:buChar char="■"/>
              <a:defRPr sz="1200">
                <a:solidFill>
                  <a:schemeClr val="accent6"/>
                </a:solidFill>
              </a:defRPr>
            </a:lvl3pPr>
            <a:lvl4pPr>
              <a:buClr>
                <a:srgbClr val="08398A"/>
              </a:buClr>
              <a:buFont typeface="Arial" pitchFamily="34" charset="0"/>
              <a:buChar char="■"/>
              <a:defRPr sz="1200">
                <a:solidFill>
                  <a:schemeClr val="accent6"/>
                </a:solidFill>
              </a:defRPr>
            </a:lvl4pPr>
            <a:lvl5pPr>
              <a:buClr>
                <a:srgbClr val="08398A"/>
              </a:buClr>
              <a:buFont typeface="Arial" pitchFamily="34" charset="0"/>
              <a:buChar char="■"/>
              <a:defRPr sz="1200">
                <a:solidFill>
                  <a:schemeClr val="accent6"/>
                </a:solidFill>
              </a:defRPr>
            </a:lvl5pPr>
          </a:lstStyle>
          <a:p>
            <a:pPr lvl="0"/>
            <a:r>
              <a:rPr lang="en-US" noProof="0" dirty="0" smtClean="0"/>
              <a:t>Click to add text</a:t>
            </a:r>
          </a:p>
          <a:p>
            <a:pPr lvl="1"/>
            <a:r>
              <a:rPr lang="en-US" noProof="0" dirty="0" smtClean="0"/>
              <a:t>Level 2</a:t>
            </a:r>
          </a:p>
          <a:p>
            <a:pPr lvl="2"/>
            <a:r>
              <a:rPr lang="en-US" noProof="0" dirty="0" smtClean="0"/>
              <a:t>Level 3</a:t>
            </a:r>
          </a:p>
          <a:p>
            <a:pPr lvl="3"/>
            <a:r>
              <a:rPr lang="en-US" noProof="0" dirty="0" smtClean="0"/>
              <a:t>Level 4</a:t>
            </a:r>
          </a:p>
          <a:p>
            <a:pPr lvl="4"/>
            <a:r>
              <a:rPr lang="en-US" noProof="0" dirty="0" smtClean="0"/>
              <a:t>Level 5</a:t>
            </a:r>
            <a:endParaRPr lang="en-US" noProof="0" dirty="0"/>
          </a:p>
        </p:txBody>
      </p:sp>
      <p:sp>
        <p:nvSpPr>
          <p:cNvPr id="9" name="Textplatzhalter 8"/>
          <p:cNvSpPr>
            <a:spLocks noGrp="1"/>
          </p:cNvSpPr>
          <p:nvPr>
            <p:ph type="body" sz="quarter" idx="10" hasCustomPrompt="1"/>
          </p:nvPr>
        </p:nvSpPr>
        <p:spPr>
          <a:xfrm>
            <a:off x="468312" y="1430710"/>
            <a:ext cx="8424168" cy="288503"/>
          </a:xfrm>
        </p:spPr>
        <p:txBody>
          <a:bodyPr/>
          <a:lstStyle>
            <a:lvl1pPr>
              <a:defRPr sz="1600" b="0" baseline="0"/>
            </a:lvl1pPr>
          </a:lstStyle>
          <a:p>
            <a:pPr lvl="0"/>
            <a:r>
              <a:rPr lang="en-US" noProof="0" smtClean="0"/>
              <a:t>Click to add subtitle</a:t>
            </a:r>
            <a:endParaRPr lang="en-US" noProof="0"/>
          </a:p>
        </p:txBody>
      </p:sp>
      <p:sp>
        <p:nvSpPr>
          <p:cNvPr id="17" name="Rectangle 3"/>
          <p:cNvSpPr>
            <a:spLocks noGrp="1" noChangeArrowheads="1"/>
          </p:cNvSpPr>
          <p:nvPr>
            <p:ph type="title" hasCustomPrompt="1"/>
          </p:nvPr>
        </p:nvSpPr>
        <p:spPr bwMode="auto">
          <a:xfrm>
            <a:off x="457681" y="889932"/>
            <a:ext cx="8434800" cy="46831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a:lvl1p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Tree>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Układ niestandardowy">
    <p:spTree>
      <p:nvGrpSpPr>
        <p:cNvPr id="1" name=""/>
        <p:cNvGrpSpPr/>
        <p:nvPr/>
      </p:nvGrpSpPr>
      <p:grpSpPr>
        <a:xfrm>
          <a:off x="0" y="0"/>
          <a:ext cx="0" cy="0"/>
          <a:chOff x="0" y="0"/>
          <a:chExt cx="0" cy="0"/>
        </a:xfrm>
      </p:grpSpPr>
      <p:grpSp>
        <p:nvGrpSpPr>
          <p:cNvPr id="3" name="Group 2"/>
          <p:cNvGrpSpPr>
            <a:grpSpLocks/>
          </p:cNvGrpSpPr>
          <p:nvPr/>
        </p:nvGrpSpPr>
        <p:grpSpPr bwMode="auto">
          <a:xfrm>
            <a:off x="1156189" y="1341438"/>
            <a:ext cx="6642588" cy="4572000"/>
            <a:chOff x="1216" y="681"/>
            <a:chExt cx="3628" cy="2404"/>
          </a:xfrm>
        </p:grpSpPr>
        <p:grpSp>
          <p:nvGrpSpPr>
            <p:cNvPr id="4" name="Group 2"/>
            <p:cNvGrpSpPr>
              <a:grpSpLocks/>
            </p:cNvGrpSpPr>
            <p:nvPr/>
          </p:nvGrpSpPr>
          <p:grpSpPr bwMode="auto">
            <a:xfrm>
              <a:off x="1216" y="681"/>
              <a:ext cx="3628" cy="2404"/>
              <a:chOff x="234" y="278"/>
              <a:chExt cx="236" cy="164"/>
            </a:xfrm>
          </p:grpSpPr>
          <p:sp>
            <p:nvSpPr>
              <p:cNvPr id="6" name="Rectangle 3"/>
              <p:cNvSpPr>
                <a:spLocks noChangeArrowheads="1"/>
              </p:cNvSpPr>
              <p:nvPr/>
            </p:nvSpPr>
            <p:spPr bwMode="auto">
              <a:xfrm>
                <a:off x="234" y="278"/>
                <a:ext cx="236" cy="164"/>
              </a:xfrm>
              <a:prstGeom prst="rect">
                <a:avLst/>
              </a:prstGeom>
              <a:solidFill>
                <a:srgbClr val="33CC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ja-JP" altLang="en-US" sz="2400" i="1">
                  <a:solidFill>
                    <a:srgbClr val="FF0000"/>
                  </a:solidFill>
                  <a:cs typeface="Arial" charset="0"/>
                </a:endParaRPr>
              </a:p>
            </p:txBody>
          </p:sp>
          <p:sp>
            <p:nvSpPr>
              <p:cNvPr id="7" name="Freeform 4"/>
              <p:cNvSpPr>
                <a:spLocks/>
              </p:cNvSpPr>
              <p:nvPr/>
            </p:nvSpPr>
            <p:spPr bwMode="auto">
              <a:xfrm>
                <a:off x="274" y="282"/>
                <a:ext cx="158" cy="156"/>
              </a:xfrm>
              <a:custGeom>
                <a:avLst/>
                <a:gdLst>
                  <a:gd name="T0" fmla="*/ 0 w 499"/>
                  <a:gd name="T1" fmla="*/ 0 h 491"/>
                  <a:gd name="T2" fmla="*/ 0 w 499"/>
                  <a:gd name="T3" fmla="*/ 0 h 491"/>
                  <a:gd name="T4" fmla="*/ 0 w 499"/>
                  <a:gd name="T5" fmla="*/ 0 h 491"/>
                  <a:gd name="T6" fmla="*/ 0 w 499"/>
                  <a:gd name="T7" fmla="*/ 0 h 491"/>
                  <a:gd name="T8" fmla="*/ 0 w 499"/>
                  <a:gd name="T9" fmla="*/ 0 h 491"/>
                  <a:gd name="T10" fmla="*/ 0 w 499"/>
                  <a:gd name="T11" fmla="*/ 0 h 491"/>
                  <a:gd name="T12" fmla="*/ 0 w 499"/>
                  <a:gd name="T13" fmla="*/ 0 h 491"/>
                  <a:gd name="T14" fmla="*/ 0 w 499"/>
                  <a:gd name="T15" fmla="*/ 0 h 491"/>
                  <a:gd name="T16" fmla="*/ 0 w 499"/>
                  <a:gd name="T17" fmla="*/ 0 h 491"/>
                  <a:gd name="T18" fmla="*/ 0 w 499"/>
                  <a:gd name="T19" fmla="*/ 0 h 491"/>
                  <a:gd name="T20" fmla="*/ 0 w 499"/>
                  <a:gd name="T21" fmla="*/ 0 h 491"/>
                  <a:gd name="T22" fmla="*/ 0 w 499"/>
                  <a:gd name="T23" fmla="*/ 0 h 491"/>
                  <a:gd name="T24" fmla="*/ 0 w 499"/>
                  <a:gd name="T25" fmla="*/ 0 h 4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9"/>
                  <a:gd name="T40" fmla="*/ 0 h 491"/>
                  <a:gd name="T41" fmla="*/ 499 w 499"/>
                  <a:gd name="T42" fmla="*/ 491 h 4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9" h="491">
                    <a:moveTo>
                      <a:pt x="166" y="0"/>
                    </a:moveTo>
                    <a:lnTo>
                      <a:pt x="334" y="0"/>
                    </a:lnTo>
                    <a:lnTo>
                      <a:pt x="334" y="163"/>
                    </a:lnTo>
                    <a:lnTo>
                      <a:pt x="498" y="163"/>
                    </a:lnTo>
                    <a:lnTo>
                      <a:pt x="498" y="324"/>
                    </a:lnTo>
                    <a:lnTo>
                      <a:pt x="332" y="324"/>
                    </a:lnTo>
                    <a:lnTo>
                      <a:pt x="332" y="490"/>
                    </a:lnTo>
                    <a:lnTo>
                      <a:pt x="166" y="490"/>
                    </a:lnTo>
                    <a:lnTo>
                      <a:pt x="166" y="326"/>
                    </a:lnTo>
                    <a:lnTo>
                      <a:pt x="0" y="326"/>
                    </a:lnTo>
                    <a:lnTo>
                      <a:pt x="0" y="161"/>
                    </a:lnTo>
                    <a:lnTo>
                      <a:pt x="166" y="161"/>
                    </a:lnTo>
                    <a:lnTo>
                      <a:pt x="166"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Freeform 5"/>
              <p:cNvSpPr>
                <a:spLocks/>
              </p:cNvSpPr>
              <p:nvPr/>
            </p:nvSpPr>
            <p:spPr bwMode="auto">
              <a:xfrm>
                <a:off x="299" y="307"/>
                <a:ext cx="108" cy="107"/>
              </a:xfrm>
              <a:custGeom>
                <a:avLst/>
                <a:gdLst>
                  <a:gd name="T0" fmla="*/ 0 w 343"/>
                  <a:gd name="T1" fmla="*/ 0 h 337"/>
                  <a:gd name="T2" fmla="*/ 0 w 343"/>
                  <a:gd name="T3" fmla="*/ 0 h 337"/>
                  <a:gd name="T4" fmla="*/ 0 w 343"/>
                  <a:gd name="T5" fmla="*/ 0 h 337"/>
                  <a:gd name="T6" fmla="*/ 0 w 343"/>
                  <a:gd name="T7" fmla="*/ 0 h 337"/>
                  <a:gd name="T8" fmla="*/ 0 w 343"/>
                  <a:gd name="T9" fmla="*/ 0 h 337"/>
                  <a:gd name="T10" fmla="*/ 0 w 343"/>
                  <a:gd name="T11" fmla="*/ 0 h 337"/>
                  <a:gd name="T12" fmla="*/ 0 w 343"/>
                  <a:gd name="T13" fmla="*/ 0 h 337"/>
                  <a:gd name="T14" fmla="*/ 0 w 343"/>
                  <a:gd name="T15" fmla="*/ 0 h 337"/>
                  <a:gd name="T16" fmla="*/ 0 w 343"/>
                  <a:gd name="T17" fmla="*/ 0 h 337"/>
                  <a:gd name="T18" fmla="*/ 0 w 343"/>
                  <a:gd name="T19" fmla="*/ 0 h 337"/>
                  <a:gd name="T20" fmla="*/ 0 w 343"/>
                  <a:gd name="T21" fmla="*/ 0 h 337"/>
                  <a:gd name="T22" fmla="*/ 0 w 343"/>
                  <a:gd name="T23" fmla="*/ 0 h 337"/>
                  <a:gd name="T24" fmla="*/ 0 w 343"/>
                  <a:gd name="T25" fmla="*/ 0 h 3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3"/>
                  <a:gd name="T40" fmla="*/ 0 h 337"/>
                  <a:gd name="T41" fmla="*/ 343 w 343"/>
                  <a:gd name="T42" fmla="*/ 337 h 3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3" h="337">
                    <a:moveTo>
                      <a:pt x="114" y="0"/>
                    </a:moveTo>
                    <a:lnTo>
                      <a:pt x="229" y="0"/>
                    </a:lnTo>
                    <a:lnTo>
                      <a:pt x="229" y="112"/>
                    </a:lnTo>
                    <a:lnTo>
                      <a:pt x="342" y="112"/>
                    </a:lnTo>
                    <a:lnTo>
                      <a:pt x="342" y="222"/>
                    </a:lnTo>
                    <a:lnTo>
                      <a:pt x="228" y="222"/>
                    </a:lnTo>
                    <a:lnTo>
                      <a:pt x="228" y="336"/>
                    </a:lnTo>
                    <a:lnTo>
                      <a:pt x="114" y="336"/>
                    </a:lnTo>
                    <a:lnTo>
                      <a:pt x="114" y="224"/>
                    </a:lnTo>
                    <a:lnTo>
                      <a:pt x="0" y="224"/>
                    </a:lnTo>
                    <a:lnTo>
                      <a:pt x="0" y="111"/>
                    </a:lnTo>
                    <a:lnTo>
                      <a:pt x="114" y="111"/>
                    </a:lnTo>
                    <a:lnTo>
                      <a:pt x="114" y="0"/>
                    </a:lnTo>
                  </a:path>
                </a:pathLst>
              </a:cu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5" name="Rectangle 6"/>
            <p:cNvSpPr>
              <a:spLocks noChangeArrowheads="1"/>
            </p:cNvSpPr>
            <p:nvPr/>
          </p:nvSpPr>
          <p:spPr bwMode="auto">
            <a:xfrm>
              <a:off x="2332" y="1732"/>
              <a:ext cx="1396" cy="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eaLnBrk="0" hangingPunct="0"/>
              <a:r>
                <a:rPr lang="en-US" altLang="ja-JP" sz="3600">
                  <a:solidFill>
                    <a:schemeClr val="bg1"/>
                  </a:solidFill>
                  <a:cs typeface="Arial" charset="0"/>
                </a:rPr>
                <a:t>Safety First</a:t>
              </a:r>
              <a:endParaRPr lang="ja-JP" altLang="en-US" sz="2400">
                <a:solidFill>
                  <a:srgbClr val="FF0000"/>
                </a:solidFill>
                <a:cs typeface="Arial" charset="0"/>
              </a:endParaRPr>
            </a:p>
          </p:txBody>
        </p:sp>
      </p:grpSp>
      <p:grpSp>
        <p:nvGrpSpPr>
          <p:cNvPr id="9" name="Group 8"/>
          <p:cNvGrpSpPr>
            <a:grpSpLocks/>
          </p:cNvGrpSpPr>
          <p:nvPr userDrawn="1"/>
        </p:nvGrpSpPr>
        <p:grpSpPr bwMode="auto">
          <a:xfrm>
            <a:off x="1156189" y="1341438"/>
            <a:ext cx="6642588" cy="4572000"/>
            <a:chOff x="1216" y="681"/>
            <a:chExt cx="3628" cy="2404"/>
          </a:xfrm>
        </p:grpSpPr>
        <p:grpSp>
          <p:nvGrpSpPr>
            <p:cNvPr id="10" name="Group 2"/>
            <p:cNvGrpSpPr>
              <a:grpSpLocks/>
            </p:cNvGrpSpPr>
            <p:nvPr/>
          </p:nvGrpSpPr>
          <p:grpSpPr bwMode="auto">
            <a:xfrm>
              <a:off x="1216" y="681"/>
              <a:ext cx="3628" cy="2404"/>
              <a:chOff x="234" y="278"/>
              <a:chExt cx="236" cy="164"/>
            </a:xfrm>
          </p:grpSpPr>
          <p:sp>
            <p:nvSpPr>
              <p:cNvPr id="12" name="Rectangle 3"/>
              <p:cNvSpPr>
                <a:spLocks noChangeArrowheads="1"/>
              </p:cNvSpPr>
              <p:nvPr/>
            </p:nvSpPr>
            <p:spPr bwMode="auto">
              <a:xfrm>
                <a:off x="234" y="278"/>
                <a:ext cx="236" cy="164"/>
              </a:xfrm>
              <a:prstGeom prst="rect">
                <a:avLst/>
              </a:prstGeom>
              <a:solidFill>
                <a:srgbClr val="33CC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ja-JP" altLang="en-US" sz="2400" i="1">
                  <a:solidFill>
                    <a:srgbClr val="FF0000"/>
                  </a:solidFill>
                  <a:cs typeface="Arial" charset="0"/>
                </a:endParaRPr>
              </a:p>
            </p:txBody>
          </p:sp>
          <p:sp>
            <p:nvSpPr>
              <p:cNvPr id="13" name="Freeform 4"/>
              <p:cNvSpPr>
                <a:spLocks/>
              </p:cNvSpPr>
              <p:nvPr/>
            </p:nvSpPr>
            <p:spPr bwMode="auto">
              <a:xfrm>
                <a:off x="274" y="282"/>
                <a:ext cx="158" cy="156"/>
              </a:xfrm>
              <a:custGeom>
                <a:avLst/>
                <a:gdLst>
                  <a:gd name="T0" fmla="*/ 0 w 499"/>
                  <a:gd name="T1" fmla="*/ 0 h 491"/>
                  <a:gd name="T2" fmla="*/ 0 w 499"/>
                  <a:gd name="T3" fmla="*/ 0 h 491"/>
                  <a:gd name="T4" fmla="*/ 0 w 499"/>
                  <a:gd name="T5" fmla="*/ 0 h 491"/>
                  <a:gd name="T6" fmla="*/ 0 w 499"/>
                  <a:gd name="T7" fmla="*/ 0 h 491"/>
                  <a:gd name="T8" fmla="*/ 0 w 499"/>
                  <a:gd name="T9" fmla="*/ 0 h 491"/>
                  <a:gd name="T10" fmla="*/ 0 w 499"/>
                  <a:gd name="T11" fmla="*/ 0 h 491"/>
                  <a:gd name="T12" fmla="*/ 0 w 499"/>
                  <a:gd name="T13" fmla="*/ 0 h 491"/>
                  <a:gd name="T14" fmla="*/ 0 w 499"/>
                  <a:gd name="T15" fmla="*/ 0 h 491"/>
                  <a:gd name="T16" fmla="*/ 0 w 499"/>
                  <a:gd name="T17" fmla="*/ 0 h 491"/>
                  <a:gd name="T18" fmla="*/ 0 w 499"/>
                  <a:gd name="T19" fmla="*/ 0 h 491"/>
                  <a:gd name="T20" fmla="*/ 0 w 499"/>
                  <a:gd name="T21" fmla="*/ 0 h 491"/>
                  <a:gd name="T22" fmla="*/ 0 w 499"/>
                  <a:gd name="T23" fmla="*/ 0 h 491"/>
                  <a:gd name="T24" fmla="*/ 0 w 499"/>
                  <a:gd name="T25" fmla="*/ 0 h 4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9"/>
                  <a:gd name="T40" fmla="*/ 0 h 491"/>
                  <a:gd name="T41" fmla="*/ 499 w 499"/>
                  <a:gd name="T42" fmla="*/ 491 h 4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9" h="491">
                    <a:moveTo>
                      <a:pt x="166" y="0"/>
                    </a:moveTo>
                    <a:lnTo>
                      <a:pt x="334" y="0"/>
                    </a:lnTo>
                    <a:lnTo>
                      <a:pt x="334" y="163"/>
                    </a:lnTo>
                    <a:lnTo>
                      <a:pt x="498" y="163"/>
                    </a:lnTo>
                    <a:lnTo>
                      <a:pt x="498" y="324"/>
                    </a:lnTo>
                    <a:lnTo>
                      <a:pt x="332" y="324"/>
                    </a:lnTo>
                    <a:lnTo>
                      <a:pt x="332" y="490"/>
                    </a:lnTo>
                    <a:lnTo>
                      <a:pt x="166" y="490"/>
                    </a:lnTo>
                    <a:lnTo>
                      <a:pt x="166" y="326"/>
                    </a:lnTo>
                    <a:lnTo>
                      <a:pt x="0" y="326"/>
                    </a:lnTo>
                    <a:lnTo>
                      <a:pt x="0" y="161"/>
                    </a:lnTo>
                    <a:lnTo>
                      <a:pt x="166" y="161"/>
                    </a:lnTo>
                    <a:lnTo>
                      <a:pt x="166"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5"/>
              <p:cNvSpPr>
                <a:spLocks/>
              </p:cNvSpPr>
              <p:nvPr/>
            </p:nvSpPr>
            <p:spPr bwMode="auto">
              <a:xfrm>
                <a:off x="299" y="307"/>
                <a:ext cx="108" cy="107"/>
              </a:xfrm>
              <a:custGeom>
                <a:avLst/>
                <a:gdLst>
                  <a:gd name="T0" fmla="*/ 0 w 343"/>
                  <a:gd name="T1" fmla="*/ 0 h 337"/>
                  <a:gd name="T2" fmla="*/ 0 w 343"/>
                  <a:gd name="T3" fmla="*/ 0 h 337"/>
                  <a:gd name="T4" fmla="*/ 0 w 343"/>
                  <a:gd name="T5" fmla="*/ 0 h 337"/>
                  <a:gd name="T6" fmla="*/ 0 w 343"/>
                  <a:gd name="T7" fmla="*/ 0 h 337"/>
                  <a:gd name="T8" fmla="*/ 0 w 343"/>
                  <a:gd name="T9" fmla="*/ 0 h 337"/>
                  <a:gd name="T10" fmla="*/ 0 w 343"/>
                  <a:gd name="T11" fmla="*/ 0 h 337"/>
                  <a:gd name="T12" fmla="*/ 0 w 343"/>
                  <a:gd name="T13" fmla="*/ 0 h 337"/>
                  <a:gd name="T14" fmla="*/ 0 w 343"/>
                  <a:gd name="T15" fmla="*/ 0 h 337"/>
                  <a:gd name="T16" fmla="*/ 0 w 343"/>
                  <a:gd name="T17" fmla="*/ 0 h 337"/>
                  <a:gd name="T18" fmla="*/ 0 w 343"/>
                  <a:gd name="T19" fmla="*/ 0 h 337"/>
                  <a:gd name="T20" fmla="*/ 0 w 343"/>
                  <a:gd name="T21" fmla="*/ 0 h 337"/>
                  <a:gd name="T22" fmla="*/ 0 w 343"/>
                  <a:gd name="T23" fmla="*/ 0 h 337"/>
                  <a:gd name="T24" fmla="*/ 0 w 343"/>
                  <a:gd name="T25" fmla="*/ 0 h 3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3"/>
                  <a:gd name="T40" fmla="*/ 0 h 337"/>
                  <a:gd name="T41" fmla="*/ 343 w 343"/>
                  <a:gd name="T42" fmla="*/ 337 h 3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3" h="337">
                    <a:moveTo>
                      <a:pt x="114" y="0"/>
                    </a:moveTo>
                    <a:lnTo>
                      <a:pt x="229" y="0"/>
                    </a:lnTo>
                    <a:lnTo>
                      <a:pt x="229" y="112"/>
                    </a:lnTo>
                    <a:lnTo>
                      <a:pt x="342" y="112"/>
                    </a:lnTo>
                    <a:lnTo>
                      <a:pt x="342" y="222"/>
                    </a:lnTo>
                    <a:lnTo>
                      <a:pt x="228" y="222"/>
                    </a:lnTo>
                    <a:lnTo>
                      <a:pt x="228" y="336"/>
                    </a:lnTo>
                    <a:lnTo>
                      <a:pt x="114" y="336"/>
                    </a:lnTo>
                    <a:lnTo>
                      <a:pt x="114" y="224"/>
                    </a:lnTo>
                    <a:lnTo>
                      <a:pt x="0" y="224"/>
                    </a:lnTo>
                    <a:lnTo>
                      <a:pt x="0" y="111"/>
                    </a:lnTo>
                    <a:lnTo>
                      <a:pt x="114" y="111"/>
                    </a:lnTo>
                    <a:lnTo>
                      <a:pt x="114" y="0"/>
                    </a:lnTo>
                  </a:path>
                </a:pathLst>
              </a:cu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1" name="Rectangle 6"/>
            <p:cNvSpPr>
              <a:spLocks noChangeArrowheads="1"/>
            </p:cNvSpPr>
            <p:nvPr/>
          </p:nvSpPr>
          <p:spPr bwMode="auto">
            <a:xfrm>
              <a:off x="2332" y="1732"/>
              <a:ext cx="1396" cy="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eaLnBrk="0" hangingPunct="0"/>
              <a:r>
                <a:rPr lang="en-US" altLang="ja-JP" sz="3600">
                  <a:solidFill>
                    <a:schemeClr val="bg1"/>
                  </a:solidFill>
                  <a:cs typeface="Arial" charset="0"/>
                </a:rPr>
                <a:t>Safety First</a:t>
              </a:r>
              <a:endParaRPr lang="ja-JP" altLang="en-US" sz="2400">
                <a:solidFill>
                  <a:srgbClr val="FF0000"/>
                </a:solidFill>
                <a:cs typeface="Arial" charset="0"/>
              </a:endParaRPr>
            </a:p>
          </p:txBody>
        </p:sp>
      </p:grpSp>
    </p:spTree>
    <p:extLst>
      <p:ext uri="{BB962C8B-B14F-4D97-AF65-F5344CB8AC3E}">
        <p14:creationId xmlns:p14="http://schemas.microsoft.com/office/powerpoint/2010/main" val="4239747211"/>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inal Page - Addresses">
    <p:spTree>
      <p:nvGrpSpPr>
        <p:cNvPr id="1" name=""/>
        <p:cNvGrpSpPr/>
        <p:nvPr/>
      </p:nvGrpSpPr>
      <p:grpSpPr>
        <a:xfrm>
          <a:off x="0" y="0"/>
          <a:ext cx="0" cy="0"/>
          <a:chOff x="0" y="0"/>
          <a:chExt cx="0" cy="0"/>
        </a:xfrm>
      </p:grpSpPr>
      <p:sp>
        <p:nvSpPr>
          <p:cNvPr id="378" name="Line 13"/>
          <p:cNvSpPr>
            <a:spLocks noChangeShapeType="1"/>
          </p:cNvSpPr>
          <p:nvPr>
            <p:custDataLst>
              <p:tags r:id="rId1"/>
            </p:custDataLst>
          </p:nvPr>
        </p:nvSpPr>
        <p:spPr bwMode="auto">
          <a:xfrm>
            <a:off x="381578" y="1537742"/>
            <a:ext cx="8507077" cy="0"/>
          </a:xfrm>
          <a:prstGeom prst="line">
            <a:avLst/>
          </a:prstGeom>
          <a:noFill/>
          <a:ln w="38100">
            <a:solidFill>
              <a:schemeClr val="tx1"/>
            </a:solidFill>
            <a:round/>
            <a:headEnd/>
            <a:tailEnd/>
          </a:ln>
          <a:effectLst/>
        </p:spPr>
        <p:txBody>
          <a:bodyPr/>
          <a:lstStyle/>
          <a:p>
            <a:endParaRPr lang="en-US"/>
          </a:p>
        </p:txBody>
      </p:sp>
      <p:sp>
        <p:nvSpPr>
          <p:cNvPr id="347" name="AutoShape 23">
            <a:hlinkClick r:id="rId5" tooltip="Sumitomo Electric Bordnetze GmbH - Zentrale - Google Maps"/>
          </p:cNvPr>
          <p:cNvSpPr>
            <a:spLocks noChangeArrowheads="1"/>
          </p:cNvSpPr>
          <p:nvPr/>
        </p:nvSpPr>
        <p:spPr bwMode="auto">
          <a:xfrm>
            <a:off x="361665" y="764705"/>
            <a:ext cx="7643926" cy="720079"/>
          </a:xfrm>
          <a:prstGeom prst="roundRect">
            <a:avLst>
              <a:gd name="adj" fmla="val 0"/>
            </a:avLst>
          </a:prstGeom>
          <a:solidFill>
            <a:schemeClr val="bg1"/>
          </a:solidFill>
          <a:ln w="9525">
            <a:solidFill>
              <a:schemeClr val="bg1"/>
            </a:solidFill>
            <a:round/>
            <a:headEnd/>
            <a:tailEnd/>
          </a:ln>
          <a:effectLst/>
        </p:spPr>
        <p:txBody>
          <a:bodyPr wrap="none" lIns="0" rIns="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100"/>
              </a:lnSpc>
              <a:tabLst>
                <a:tab pos="266700" algn="l"/>
                <a:tab pos="1612900" algn="l"/>
              </a:tabLst>
            </a:pPr>
            <a:r>
              <a:rPr lang="en-US" sz="800" dirty="0" err="1" smtClean="0">
                <a:solidFill>
                  <a:schemeClr val="accent6"/>
                </a:solidFill>
              </a:rPr>
              <a:t>Brandgehaege</a:t>
            </a:r>
            <a:r>
              <a:rPr lang="en-US" sz="800" dirty="0" smtClean="0">
                <a:solidFill>
                  <a:schemeClr val="accent6"/>
                </a:solidFill>
              </a:rPr>
              <a:t> 11, 38444 Wolfsburg  -  </a:t>
            </a:r>
            <a:r>
              <a:rPr lang="en-US" sz="800" dirty="0" smtClean="0">
                <a:solidFill>
                  <a:schemeClr val="accent6"/>
                </a:solidFill>
                <a:hlinkClick r:id="rId6"/>
              </a:rPr>
              <a:t>www.sebn.com</a:t>
            </a:r>
            <a:r>
              <a:rPr lang="en-US" sz="800" dirty="0" smtClean="0">
                <a:solidFill>
                  <a:schemeClr val="accent6"/>
                </a:solidFill>
              </a:rPr>
              <a:t> -  </a:t>
            </a:r>
            <a:r>
              <a:rPr lang="en-US" sz="800" dirty="0" smtClean="0">
                <a:solidFill>
                  <a:schemeClr val="accent6"/>
                </a:solidFill>
                <a:hlinkClick r:id="rId7"/>
              </a:rPr>
              <a:t>info@sebn.com</a:t>
            </a:r>
            <a:r>
              <a:rPr lang="en-US" sz="800" dirty="0" smtClean="0">
                <a:solidFill>
                  <a:schemeClr val="accent6"/>
                </a:solidFill>
              </a:rPr>
              <a:t> </a:t>
            </a:r>
          </a:p>
          <a:p>
            <a:pPr>
              <a:lnSpc>
                <a:spcPts val="1100"/>
              </a:lnSpc>
              <a:tabLst>
                <a:tab pos="266700" algn="l"/>
                <a:tab pos="1612900" algn="l"/>
              </a:tabLst>
            </a:pPr>
            <a:r>
              <a:rPr lang="en-US" sz="800" b="1" smtClean="0">
                <a:solidFill>
                  <a:srgbClr val="004E9E"/>
                </a:solidFill>
                <a:sym typeface="Wingdings" pitchFamily="2" charset="2"/>
              </a:rPr>
              <a:t>Board</a:t>
            </a:r>
            <a:r>
              <a:rPr lang="en-US" sz="800" b="1" baseline="0" smtClean="0">
                <a:solidFill>
                  <a:srgbClr val="004E9E"/>
                </a:solidFill>
                <a:sym typeface="Wingdings" pitchFamily="2" charset="2"/>
              </a:rPr>
              <a:t> of Directors</a:t>
            </a:r>
            <a:r>
              <a:rPr lang="en-US" sz="800" b="1" smtClean="0">
                <a:solidFill>
                  <a:srgbClr val="004E9E"/>
                </a:solidFill>
                <a:sym typeface="Wingdings" pitchFamily="2" charset="2"/>
              </a:rPr>
              <a:t>: </a:t>
            </a:r>
            <a:r>
              <a:rPr lang="pl-PL" sz="800" b="1" smtClean="0">
                <a:solidFill>
                  <a:srgbClr val="004E9E"/>
                </a:solidFill>
                <a:sym typeface="Wingdings" pitchFamily="2" charset="2"/>
              </a:rPr>
              <a:t> </a:t>
            </a:r>
            <a:r>
              <a:rPr lang="en-US" sz="800" smtClean="0">
                <a:solidFill>
                  <a:schemeClr val="accent6"/>
                </a:solidFill>
                <a:sym typeface="Wingdings" pitchFamily="2" charset="2"/>
              </a:rPr>
              <a:t>Kenichi </a:t>
            </a:r>
            <a:r>
              <a:rPr lang="en-US" sz="800" baseline="0" smtClean="0">
                <a:solidFill>
                  <a:schemeClr val="accent6"/>
                </a:solidFill>
                <a:sym typeface="Wingdings" pitchFamily="2" charset="2"/>
              </a:rPr>
              <a:t> </a:t>
            </a:r>
            <a:r>
              <a:rPr lang="en-US" sz="800" smtClean="0">
                <a:solidFill>
                  <a:schemeClr val="accent6"/>
                </a:solidFill>
                <a:sym typeface="Wingdings" pitchFamily="2" charset="2"/>
              </a:rPr>
              <a:t>Urushibata (CEO</a:t>
            </a:r>
            <a:r>
              <a:rPr lang="en-US" sz="800" dirty="0" smtClean="0">
                <a:solidFill>
                  <a:schemeClr val="accent6"/>
                </a:solidFill>
                <a:sym typeface="Wingdings" pitchFamily="2" charset="2"/>
              </a:rPr>
              <a:t>), Minoru </a:t>
            </a:r>
            <a:r>
              <a:rPr lang="en-US" sz="800" dirty="0" err="1" smtClean="0">
                <a:solidFill>
                  <a:schemeClr val="accent6"/>
                </a:solidFill>
                <a:sym typeface="Wingdings" pitchFamily="2" charset="2"/>
              </a:rPr>
              <a:t>Fujitsuka</a:t>
            </a:r>
            <a:r>
              <a:rPr lang="en-US" sz="800" dirty="0" smtClean="0">
                <a:solidFill>
                  <a:schemeClr val="accent6"/>
                </a:solidFill>
                <a:sym typeface="Wingdings" pitchFamily="2" charset="2"/>
              </a:rPr>
              <a:t>, Oliver Schacht, </a:t>
            </a:r>
            <a:r>
              <a:rPr lang="en-US" sz="800" smtClean="0">
                <a:solidFill>
                  <a:schemeClr val="accent6"/>
                </a:solidFill>
                <a:sym typeface="Wingdings" pitchFamily="2" charset="2"/>
              </a:rPr>
              <a:t>René Zboralski, Carsten Schulze,</a:t>
            </a:r>
            <a:r>
              <a:rPr lang="en-US" sz="800" baseline="0" smtClean="0">
                <a:solidFill>
                  <a:schemeClr val="accent6"/>
                </a:solidFill>
                <a:sym typeface="Wingdings" pitchFamily="2" charset="2"/>
              </a:rPr>
              <a:t> Henning von dem Hagen</a:t>
            </a:r>
            <a:r>
              <a:rPr lang="en-US" sz="800" smtClean="0">
                <a:solidFill>
                  <a:schemeClr val="accent6"/>
                </a:solidFill>
                <a:sym typeface="Wingdings" pitchFamily="2" charset="2"/>
              </a:rPr>
              <a:t> </a:t>
            </a:r>
            <a:endParaRPr lang="en-US" sz="800" dirty="0" smtClean="0">
              <a:solidFill>
                <a:schemeClr val="accent6"/>
              </a:solidFill>
              <a:sym typeface="Wingdings" pitchFamily="2" charset="2"/>
            </a:endParaRPr>
          </a:p>
          <a:p>
            <a:pPr>
              <a:lnSpc>
                <a:spcPts val="1100"/>
              </a:lnSpc>
              <a:tabLst>
                <a:tab pos="266700" algn="l"/>
                <a:tab pos="1612900" algn="l"/>
              </a:tabLst>
            </a:pPr>
            <a:endParaRPr lang="pl-PL" sz="800" dirty="0" smtClean="0">
              <a:sym typeface="Wingdings" pitchFamily="2" charset="2"/>
            </a:endParaRPr>
          </a:p>
          <a:p>
            <a:pPr>
              <a:lnSpc>
                <a:spcPts val="1100"/>
              </a:lnSpc>
              <a:tabLst>
                <a:tab pos="266700" algn="l"/>
                <a:tab pos="1612900" algn="l"/>
              </a:tabLst>
            </a:pPr>
            <a:r>
              <a:rPr lang="en-US" sz="800" dirty="0" smtClean="0">
                <a:sym typeface="Wingdings" pitchFamily="2" charset="2"/>
              </a:rPr>
              <a:t></a:t>
            </a:r>
            <a:r>
              <a:rPr lang="en-US" sz="800" dirty="0" smtClean="0"/>
              <a:t> 	+49 (0)5308 / 400 400   	</a:t>
            </a:r>
            <a:r>
              <a:rPr lang="en-US" sz="800" dirty="0" smtClean="0">
                <a:sym typeface="Wingdings 2" pitchFamily="18" charset="2"/>
              </a:rPr>
              <a:t></a:t>
            </a:r>
            <a:r>
              <a:rPr lang="en-US" sz="800" dirty="0" smtClean="0"/>
              <a:t> 	+49 (0)5308 / 400 419</a:t>
            </a:r>
            <a:endParaRPr lang="en-US" sz="800" dirty="0"/>
          </a:p>
        </p:txBody>
      </p:sp>
      <p:sp>
        <p:nvSpPr>
          <p:cNvPr id="1054" name="Line 13"/>
          <p:cNvSpPr>
            <a:spLocks noChangeShapeType="1"/>
          </p:cNvSpPr>
          <p:nvPr/>
        </p:nvSpPr>
        <p:spPr bwMode="auto">
          <a:xfrm>
            <a:off x="384458" y="6193879"/>
            <a:ext cx="8507077" cy="0"/>
          </a:xfrm>
          <a:prstGeom prst="line">
            <a:avLst/>
          </a:prstGeom>
          <a:noFill/>
          <a:ln w="12700">
            <a:solidFill>
              <a:schemeClr val="tx1"/>
            </a:solidFill>
            <a:round/>
            <a:headEnd/>
            <a:tailEnd/>
          </a:ln>
          <a:effectLst/>
        </p:spPr>
        <p:txBody>
          <a:bodyPr/>
          <a:lstStyle/>
          <a:p>
            <a:endParaRPr lang="en-US"/>
          </a:p>
        </p:txBody>
      </p:sp>
      <p:grpSp>
        <p:nvGrpSpPr>
          <p:cNvPr id="383" name="Gruppieren 382"/>
          <p:cNvGrpSpPr/>
          <p:nvPr/>
        </p:nvGrpSpPr>
        <p:grpSpPr>
          <a:xfrm>
            <a:off x="912516" y="1558102"/>
            <a:ext cx="7213472" cy="4497094"/>
            <a:chOff x="988558" y="1558102"/>
            <a:chExt cx="7814595" cy="4497094"/>
          </a:xfrm>
        </p:grpSpPr>
        <p:grpSp>
          <p:nvGrpSpPr>
            <p:cNvPr id="384" name="Group 1486"/>
            <p:cNvGrpSpPr>
              <a:grpSpLocks/>
            </p:cNvGrpSpPr>
            <p:nvPr userDrawn="1"/>
          </p:nvGrpSpPr>
          <p:grpSpPr bwMode="auto">
            <a:xfrm>
              <a:off x="5221508" y="3595349"/>
              <a:ext cx="407324" cy="175867"/>
              <a:chOff x="3044" y="2054"/>
              <a:chExt cx="205" cy="88"/>
            </a:xfrm>
            <a:solidFill>
              <a:schemeClr val="bg1">
                <a:lumMod val="75000"/>
              </a:schemeClr>
            </a:solidFill>
          </p:grpSpPr>
          <p:sp>
            <p:nvSpPr>
              <p:cNvPr id="1072" name="Freeform 1487"/>
              <p:cNvSpPr>
                <a:spLocks/>
              </p:cNvSpPr>
              <p:nvPr/>
            </p:nvSpPr>
            <p:spPr bwMode="auto">
              <a:xfrm>
                <a:off x="3045" y="2054"/>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73" name="Freeform 1488"/>
              <p:cNvSpPr>
                <a:spLocks/>
              </p:cNvSpPr>
              <p:nvPr/>
            </p:nvSpPr>
            <p:spPr bwMode="auto">
              <a:xfrm>
                <a:off x="3044" y="2055"/>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385" name="Freeform 1287"/>
            <p:cNvSpPr>
              <a:spLocks/>
            </p:cNvSpPr>
            <p:nvPr/>
          </p:nvSpPr>
          <p:spPr bwMode="auto">
            <a:xfrm>
              <a:off x="4811713" y="3731249"/>
              <a:ext cx="87477" cy="185846"/>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6" name="Freeform 1288"/>
            <p:cNvSpPr>
              <a:spLocks/>
            </p:cNvSpPr>
            <p:nvPr/>
          </p:nvSpPr>
          <p:spPr bwMode="auto">
            <a:xfrm>
              <a:off x="5187465" y="3883123"/>
              <a:ext cx="244537" cy="241800"/>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7" name="Freeform 1289"/>
            <p:cNvSpPr>
              <a:spLocks/>
            </p:cNvSpPr>
            <p:nvPr/>
          </p:nvSpPr>
          <p:spPr bwMode="auto">
            <a:xfrm>
              <a:off x="4942928" y="4084957"/>
              <a:ext cx="234597" cy="361700"/>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8" name="Freeform 1290"/>
            <p:cNvSpPr>
              <a:spLocks/>
            </p:cNvSpPr>
            <p:nvPr/>
          </p:nvSpPr>
          <p:spPr bwMode="auto">
            <a:xfrm>
              <a:off x="5447908" y="4208854"/>
              <a:ext cx="143144" cy="129892"/>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9" name="Freeform 1291"/>
            <p:cNvSpPr>
              <a:spLocks/>
            </p:cNvSpPr>
            <p:nvPr/>
          </p:nvSpPr>
          <p:spPr bwMode="auto">
            <a:xfrm>
              <a:off x="4465783" y="3737244"/>
              <a:ext cx="441359" cy="451626"/>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0" name="Freeform 1292"/>
            <p:cNvSpPr>
              <a:spLocks/>
            </p:cNvSpPr>
            <p:nvPr/>
          </p:nvSpPr>
          <p:spPr bwMode="auto">
            <a:xfrm>
              <a:off x="5565206" y="4328755"/>
              <a:ext cx="31809" cy="41965"/>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1" name="Freeform 1293"/>
            <p:cNvSpPr>
              <a:spLocks/>
            </p:cNvSpPr>
            <p:nvPr/>
          </p:nvSpPr>
          <p:spPr bwMode="auto">
            <a:xfrm>
              <a:off x="4282877" y="3993033"/>
              <a:ext cx="262430" cy="291758"/>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2" name="Freeform 1294"/>
            <p:cNvSpPr>
              <a:spLocks/>
            </p:cNvSpPr>
            <p:nvPr/>
          </p:nvSpPr>
          <p:spPr bwMode="auto">
            <a:xfrm>
              <a:off x="4370353" y="3771216"/>
              <a:ext cx="260442" cy="209827"/>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3" name="Freeform 1295"/>
            <p:cNvSpPr>
              <a:spLocks/>
            </p:cNvSpPr>
            <p:nvPr/>
          </p:nvSpPr>
          <p:spPr bwMode="auto">
            <a:xfrm>
              <a:off x="5547313" y="4348738"/>
              <a:ext cx="222668" cy="295756"/>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4" name="Freeform 1296"/>
            <p:cNvSpPr>
              <a:spLocks/>
            </p:cNvSpPr>
            <p:nvPr/>
          </p:nvSpPr>
          <p:spPr bwMode="auto">
            <a:xfrm>
              <a:off x="5129811" y="4092950"/>
              <a:ext cx="359848" cy="437637"/>
            </a:xfrm>
            <a:custGeom>
              <a:avLst/>
              <a:gdLst/>
              <a:ahLst/>
              <a:cxnLst>
                <a:cxn ang="0">
                  <a:pos x="118" y="375"/>
                </a:cxn>
                <a:cxn ang="0">
                  <a:pos x="72" y="426"/>
                </a:cxn>
                <a:cxn ang="0">
                  <a:pos x="55" y="449"/>
                </a:cxn>
                <a:cxn ang="0">
                  <a:pos x="23" y="508"/>
                </a:cxn>
                <a:cxn ang="0">
                  <a:pos x="14" y="527"/>
                </a:cxn>
                <a:cxn ang="0">
                  <a:pos x="7" y="564"/>
                </a:cxn>
                <a:cxn ang="0">
                  <a:pos x="3" y="596"/>
                </a:cxn>
                <a:cxn ang="0">
                  <a:pos x="28" y="623"/>
                </a:cxn>
                <a:cxn ang="0">
                  <a:pos x="51" y="667"/>
                </a:cxn>
                <a:cxn ang="0">
                  <a:pos x="55" y="703"/>
                </a:cxn>
                <a:cxn ang="0">
                  <a:pos x="88" y="777"/>
                </a:cxn>
                <a:cxn ang="0">
                  <a:pos x="109" y="817"/>
                </a:cxn>
                <a:cxn ang="0">
                  <a:pos x="161" y="840"/>
                </a:cxn>
                <a:cxn ang="0">
                  <a:pos x="179" y="869"/>
                </a:cxn>
                <a:cxn ang="0">
                  <a:pos x="229" y="914"/>
                </a:cxn>
                <a:cxn ang="0">
                  <a:pos x="256" y="950"/>
                </a:cxn>
                <a:cxn ang="0">
                  <a:pos x="303" y="993"/>
                </a:cxn>
                <a:cxn ang="0">
                  <a:pos x="329" y="1031"/>
                </a:cxn>
                <a:cxn ang="0">
                  <a:pos x="369" y="1055"/>
                </a:cxn>
                <a:cxn ang="0">
                  <a:pos x="426" y="1042"/>
                </a:cxn>
                <a:cxn ang="0">
                  <a:pos x="484" y="1091"/>
                </a:cxn>
                <a:cxn ang="0">
                  <a:pos x="517" y="1090"/>
                </a:cxn>
                <a:cxn ang="0">
                  <a:pos x="556" y="1097"/>
                </a:cxn>
                <a:cxn ang="0">
                  <a:pos x="616" y="1089"/>
                </a:cxn>
                <a:cxn ang="0">
                  <a:pos x="662" y="1071"/>
                </a:cxn>
                <a:cxn ang="0">
                  <a:pos x="731" y="1046"/>
                </a:cxn>
                <a:cxn ang="0">
                  <a:pos x="767" y="1011"/>
                </a:cxn>
                <a:cxn ang="0">
                  <a:pos x="727" y="988"/>
                </a:cxn>
                <a:cxn ang="0">
                  <a:pos x="702" y="930"/>
                </a:cxn>
                <a:cxn ang="0">
                  <a:pos x="665" y="891"/>
                </a:cxn>
                <a:cxn ang="0">
                  <a:pos x="629" y="874"/>
                </a:cxn>
                <a:cxn ang="0">
                  <a:pos x="614" y="855"/>
                </a:cxn>
                <a:cxn ang="0">
                  <a:pos x="652" y="834"/>
                </a:cxn>
                <a:cxn ang="0">
                  <a:pos x="672" y="763"/>
                </a:cxn>
                <a:cxn ang="0">
                  <a:pos x="676" y="719"/>
                </a:cxn>
                <a:cxn ang="0">
                  <a:pos x="697" y="697"/>
                </a:cxn>
                <a:cxn ang="0">
                  <a:pos x="723" y="651"/>
                </a:cxn>
                <a:cxn ang="0">
                  <a:pos x="783" y="582"/>
                </a:cxn>
                <a:cxn ang="0">
                  <a:pos x="798" y="473"/>
                </a:cxn>
                <a:cxn ang="0">
                  <a:pos x="821" y="387"/>
                </a:cxn>
                <a:cxn ang="0">
                  <a:pos x="842" y="348"/>
                </a:cxn>
                <a:cxn ang="0">
                  <a:pos x="885" y="323"/>
                </a:cxn>
                <a:cxn ang="0">
                  <a:pos x="904" y="284"/>
                </a:cxn>
                <a:cxn ang="0">
                  <a:pos x="887" y="270"/>
                </a:cxn>
                <a:cxn ang="0">
                  <a:pos x="852" y="252"/>
                </a:cxn>
                <a:cxn ang="0">
                  <a:pos x="837" y="157"/>
                </a:cxn>
                <a:cxn ang="0">
                  <a:pos x="821" y="94"/>
                </a:cxn>
                <a:cxn ang="0">
                  <a:pos x="798" y="44"/>
                </a:cxn>
                <a:cxn ang="0">
                  <a:pos x="749" y="0"/>
                </a:cxn>
                <a:cxn ang="0">
                  <a:pos x="672" y="53"/>
                </a:cxn>
                <a:cxn ang="0">
                  <a:pos x="522" y="65"/>
                </a:cxn>
                <a:cxn ang="0">
                  <a:pos x="519" y="53"/>
                </a:cxn>
                <a:cxn ang="0">
                  <a:pos x="379" y="65"/>
                </a:cxn>
                <a:cxn ang="0">
                  <a:pos x="170" y="65"/>
                </a:cxn>
                <a:cxn ang="0">
                  <a:pos x="118" y="210"/>
                </a:cxn>
              </a:cxnLst>
              <a:rect l="0" t="0" r="r" b="b"/>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5" name="Freeform 1297"/>
            <p:cNvSpPr>
              <a:spLocks/>
            </p:cNvSpPr>
            <p:nvPr/>
          </p:nvSpPr>
          <p:spPr bwMode="auto">
            <a:xfrm>
              <a:off x="4654653" y="4080960"/>
              <a:ext cx="345931" cy="271776"/>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0" name="Freeform 1298"/>
            <p:cNvSpPr>
              <a:spLocks/>
            </p:cNvSpPr>
            <p:nvPr/>
          </p:nvSpPr>
          <p:spPr bwMode="auto">
            <a:xfrm>
              <a:off x="5372360" y="4282793"/>
              <a:ext cx="328038" cy="249793"/>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1" name="Freeform 1299"/>
            <p:cNvSpPr>
              <a:spLocks/>
            </p:cNvSpPr>
            <p:nvPr/>
          </p:nvSpPr>
          <p:spPr bwMode="auto">
            <a:xfrm>
              <a:off x="4851476" y="3843156"/>
              <a:ext cx="345931" cy="333724"/>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2" name="Freeform 1300"/>
            <p:cNvSpPr>
              <a:spLocks/>
            </p:cNvSpPr>
            <p:nvPr/>
          </p:nvSpPr>
          <p:spPr bwMode="auto">
            <a:xfrm>
              <a:off x="4388247" y="4046988"/>
              <a:ext cx="353883" cy="339719"/>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3" name="Freeform 1301"/>
            <p:cNvSpPr>
              <a:spLocks/>
            </p:cNvSpPr>
            <p:nvPr/>
          </p:nvSpPr>
          <p:spPr bwMode="auto">
            <a:xfrm>
              <a:off x="4282877" y="3981043"/>
              <a:ext cx="182906" cy="159868"/>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4" name="Freeform 1302"/>
            <p:cNvSpPr>
              <a:spLocks/>
            </p:cNvSpPr>
            <p:nvPr/>
          </p:nvSpPr>
          <p:spPr bwMode="auto">
            <a:xfrm>
              <a:off x="5324645" y="5190043"/>
              <a:ext cx="25846" cy="35970"/>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05" name="Freeform 1303"/>
            <p:cNvSpPr>
              <a:spLocks/>
            </p:cNvSpPr>
            <p:nvPr/>
          </p:nvSpPr>
          <p:spPr bwMode="auto">
            <a:xfrm>
              <a:off x="5010524" y="5102116"/>
              <a:ext cx="357860" cy="315739"/>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06" name="Freeform 1304"/>
            <p:cNvSpPr>
              <a:spLocks/>
            </p:cNvSpPr>
            <p:nvPr/>
          </p:nvSpPr>
          <p:spPr bwMode="auto">
            <a:xfrm>
              <a:off x="5366395" y="4814353"/>
              <a:ext cx="69584" cy="173856"/>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07" name="Freeform 1305"/>
            <p:cNvSpPr>
              <a:spLocks/>
            </p:cNvSpPr>
            <p:nvPr/>
          </p:nvSpPr>
          <p:spPr bwMode="auto">
            <a:xfrm>
              <a:off x="5593039" y="4876302"/>
              <a:ext cx="155072" cy="311743"/>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08" name="Freeform 1307"/>
            <p:cNvSpPr>
              <a:spLocks/>
            </p:cNvSpPr>
            <p:nvPr/>
          </p:nvSpPr>
          <p:spPr bwMode="auto">
            <a:xfrm>
              <a:off x="4905154" y="4736417"/>
              <a:ext cx="274358" cy="27177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09" name="Freeform 1308"/>
            <p:cNvSpPr>
              <a:spLocks/>
            </p:cNvSpPr>
            <p:nvPr/>
          </p:nvSpPr>
          <p:spPr bwMode="auto">
            <a:xfrm>
              <a:off x="4913107" y="4706442"/>
              <a:ext cx="21869" cy="31974"/>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0" name="Freeform 1309"/>
            <p:cNvSpPr>
              <a:spLocks/>
            </p:cNvSpPr>
            <p:nvPr/>
          </p:nvSpPr>
          <p:spPr bwMode="auto">
            <a:xfrm>
              <a:off x="5243133" y="5257986"/>
              <a:ext cx="49702" cy="51957"/>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1" name="Freeform 1310"/>
            <p:cNvSpPr>
              <a:spLocks/>
            </p:cNvSpPr>
            <p:nvPr/>
          </p:nvSpPr>
          <p:spPr bwMode="auto">
            <a:xfrm>
              <a:off x="5131799" y="4788375"/>
              <a:ext cx="254478" cy="219819"/>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2" name="Freeform 1311"/>
            <p:cNvSpPr>
              <a:spLocks/>
            </p:cNvSpPr>
            <p:nvPr/>
          </p:nvSpPr>
          <p:spPr bwMode="auto">
            <a:xfrm>
              <a:off x="5201382" y="4954238"/>
              <a:ext cx="168989" cy="161866"/>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3" name="Freeform 1312"/>
            <p:cNvSpPr>
              <a:spLocks/>
            </p:cNvSpPr>
            <p:nvPr/>
          </p:nvSpPr>
          <p:spPr bwMode="auto">
            <a:xfrm>
              <a:off x="4905154" y="4982214"/>
              <a:ext cx="292252" cy="289761"/>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4" name="Freeform 1313"/>
            <p:cNvSpPr>
              <a:spLocks/>
            </p:cNvSpPr>
            <p:nvPr/>
          </p:nvSpPr>
          <p:spPr bwMode="auto">
            <a:xfrm>
              <a:off x="5306752" y="4840331"/>
              <a:ext cx="232609" cy="373691"/>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5" name="Freeform 1315"/>
            <p:cNvSpPr>
              <a:spLocks/>
            </p:cNvSpPr>
            <p:nvPr/>
          </p:nvSpPr>
          <p:spPr bwMode="auto">
            <a:xfrm>
              <a:off x="4324627" y="4330753"/>
              <a:ext cx="161036" cy="121899"/>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6" name="Freeform 1316"/>
            <p:cNvSpPr>
              <a:spLocks/>
            </p:cNvSpPr>
            <p:nvPr/>
          </p:nvSpPr>
          <p:spPr bwMode="auto">
            <a:xfrm>
              <a:off x="4966785" y="4366724"/>
              <a:ext cx="286287" cy="181849"/>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7" name="Freeform 1317"/>
            <p:cNvSpPr>
              <a:spLocks/>
            </p:cNvSpPr>
            <p:nvPr/>
          </p:nvSpPr>
          <p:spPr bwMode="auto">
            <a:xfrm>
              <a:off x="4843523" y="4558565"/>
              <a:ext cx="121275" cy="137886"/>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8" name="Freeform 1318"/>
            <p:cNvSpPr>
              <a:spLocks/>
            </p:cNvSpPr>
            <p:nvPr/>
          </p:nvSpPr>
          <p:spPr bwMode="auto">
            <a:xfrm>
              <a:off x="4284865" y="4304775"/>
              <a:ext cx="67596" cy="17985"/>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9" name="Freeform 1319"/>
            <p:cNvSpPr>
              <a:spLocks/>
            </p:cNvSpPr>
            <p:nvPr/>
          </p:nvSpPr>
          <p:spPr bwMode="auto">
            <a:xfrm>
              <a:off x="4286853" y="4330753"/>
              <a:ext cx="69584" cy="37969"/>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0" name="Freeform 1320"/>
            <p:cNvSpPr>
              <a:spLocks/>
            </p:cNvSpPr>
            <p:nvPr/>
          </p:nvSpPr>
          <p:spPr bwMode="auto">
            <a:xfrm>
              <a:off x="4402163" y="4404143"/>
              <a:ext cx="89465" cy="91924"/>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1" name="Freeform 1321"/>
            <p:cNvSpPr>
              <a:spLocks/>
            </p:cNvSpPr>
            <p:nvPr/>
          </p:nvSpPr>
          <p:spPr bwMode="auto">
            <a:xfrm>
              <a:off x="4583081" y="4364725"/>
              <a:ext cx="97417" cy="143881"/>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2" name="Freeform 1322"/>
            <p:cNvSpPr>
              <a:spLocks/>
            </p:cNvSpPr>
            <p:nvPr/>
          </p:nvSpPr>
          <p:spPr bwMode="auto">
            <a:xfrm>
              <a:off x="4710319" y="4304775"/>
              <a:ext cx="256466" cy="21382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3" name="Freeform 1323"/>
            <p:cNvSpPr>
              <a:spLocks/>
            </p:cNvSpPr>
            <p:nvPr/>
          </p:nvSpPr>
          <p:spPr bwMode="auto">
            <a:xfrm>
              <a:off x="4893226" y="4528590"/>
              <a:ext cx="167001" cy="191841"/>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4" name="Freeform 1324"/>
            <p:cNvSpPr>
              <a:spLocks/>
            </p:cNvSpPr>
            <p:nvPr/>
          </p:nvSpPr>
          <p:spPr bwMode="auto">
            <a:xfrm>
              <a:off x="4855452" y="4560563"/>
              <a:ext cx="41750" cy="27976"/>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25" name="Freeform 1325"/>
            <p:cNvSpPr>
              <a:spLocks/>
            </p:cNvSpPr>
            <p:nvPr/>
          </p:nvSpPr>
          <p:spPr bwMode="auto">
            <a:xfrm>
              <a:off x="5288859" y="4660481"/>
              <a:ext cx="35785" cy="43964"/>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26" name="Freeform 1326"/>
            <p:cNvSpPr>
              <a:spLocks/>
            </p:cNvSpPr>
            <p:nvPr/>
          </p:nvSpPr>
          <p:spPr bwMode="auto">
            <a:xfrm>
              <a:off x="5300788" y="4518597"/>
              <a:ext cx="115310" cy="121899"/>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7" name="Freeform 1327"/>
            <p:cNvSpPr>
              <a:spLocks/>
            </p:cNvSpPr>
            <p:nvPr/>
          </p:nvSpPr>
          <p:spPr bwMode="auto">
            <a:xfrm>
              <a:off x="4539342" y="4278796"/>
              <a:ext cx="165013" cy="123898"/>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8" name="Freeform 1328"/>
            <p:cNvSpPr>
              <a:spLocks/>
            </p:cNvSpPr>
            <p:nvPr/>
          </p:nvSpPr>
          <p:spPr bwMode="auto">
            <a:xfrm>
              <a:off x="5284883" y="4632504"/>
              <a:ext cx="41750" cy="37969"/>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30" name="Freeform 1329"/>
            <p:cNvSpPr>
              <a:spLocks/>
            </p:cNvSpPr>
            <p:nvPr/>
          </p:nvSpPr>
          <p:spPr bwMode="auto">
            <a:xfrm>
              <a:off x="5392241" y="4508606"/>
              <a:ext cx="172965" cy="201834"/>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1" name="Freeform 1330"/>
            <p:cNvSpPr>
              <a:spLocks/>
            </p:cNvSpPr>
            <p:nvPr/>
          </p:nvSpPr>
          <p:spPr bwMode="auto">
            <a:xfrm>
              <a:off x="4270948" y="4240827"/>
              <a:ext cx="135192" cy="9791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2" name="Freeform 1331"/>
            <p:cNvSpPr>
              <a:spLocks/>
            </p:cNvSpPr>
            <p:nvPr/>
          </p:nvSpPr>
          <p:spPr bwMode="auto">
            <a:xfrm>
              <a:off x="5298799" y="4630506"/>
              <a:ext cx="238573" cy="23580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35" name="Freeform 1332"/>
            <p:cNvSpPr>
              <a:spLocks/>
            </p:cNvSpPr>
            <p:nvPr/>
          </p:nvSpPr>
          <p:spPr bwMode="auto">
            <a:xfrm>
              <a:off x="4362401" y="4390703"/>
              <a:ext cx="65607" cy="65946"/>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6" name="Freeform 1333"/>
            <p:cNvSpPr>
              <a:spLocks/>
            </p:cNvSpPr>
            <p:nvPr/>
          </p:nvSpPr>
          <p:spPr bwMode="auto">
            <a:xfrm>
              <a:off x="4465783" y="4374718"/>
              <a:ext cx="133203" cy="139884"/>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7" name="Freeform 1334"/>
            <p:cNvSpPr>
              <a:spLocks/>
            </p:cNvSpPr>
            <p:nvPr/>
          </p:nvSpPr>
          <p:spPr bwMode="auto">
            <a:xfrm>
              <a:off x="4648688" y="4364725"/>
              <a:ext cx="47714" cy="113906"/>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8" name="Freeform 1335"/>
            <p:cNvSpPr>
              <a:spLocks/>
            </p:cNvSpPr>
            <p:nvPr/>
          </p:nvSpPr>
          <p:spPr bwMode="auto">
            <a:xfrm>
              <a:off x="4835570" y="4328755"/>
              <a:ext cx="167001" cy="245797"/>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9" name="Freeform 1336"/>
            <p:cNvSpPr>
              <a:spLocks/>
            </p:cNvSpPr>
            <p:nvPr/>
          </p:nvSpPr>
          <p:spPr bwMode="auto">
            <a:xfrm>
              <a:off x="4668569" y="4336748"/>
              <a:ext cx="65607" cy="135888"/>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0" name="Freeform 1337"/>
            <p:cNvSpPr>
              <a:spLocks/>
            </p:cNvSpPr>
            <p:nvPr/>
          </p:nvSpPr>
          <p:spPr bwMode="auto">
            <a:xfrm>
              <a:off x="4919071" y="4494618"/>
              <a:ext cx="415514" cy="407663"/>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1" name="Freeform 1339"/>
            <p:cNvSpPr>
              <a:spLocks/>
            </p:cNvSpPr>
            <p:nvPr/>
          </p:nvSpPr>
          <p:spPr bwMode="auto">
            <a:xfrm>
              <a:off x="3049377" y="5943259"/>
              <a:ext cx="45673" cy="53970"/>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2" name="Freeform 1340"/>
            <p:cNvSpPr>
              <a:spLocks/>
            </p:cNvSpPr>
            <p:nvPr/>
          </p:nvSpPr>
          <p:spPr bwMode="auto">
            <a:xfrm>
              <a:off x="3055334" y="4342154"/>
              <a:ext cx="293897" cy="251859"/>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3" name="Freeform 1341"/>
            <p:cNvSpPr>
              <a:spLocks/>
            </p:cNvSpPr>
            <p:nvPr/>
          </p:nvSpPr>
          <p:spPr bwMode="auto">
            <a:xfrm>
              <a:off x="2890513" y="4582020"/>
              <a:ext cx="123119" cy="137922"/>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4" name="Freeform 1342"/>
            <p:cNvSpPr>
              <a:spLocks/>
            </p:cNvSpPr>
            <p:nvPr/>
          </p:nvSpPr>
          <p:spPr bwMode="auto">
            <a:xfrm>
              <a:off x="3285686" y="5037765"/>
              <a:ext cx="182693" cy="195891"/>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5" name="Freeform 1343"/>
            <p:cNvSpPr>
              <a:spLocks/>
            </p:cNvSpPr>
            <p:nvPr/>
          </p:nvSpPr>
          <p:spPr bwMode="auto">
            <a:xfrm>
              <a:off x="3005689" y="4997787"/>
              <a:ext cx="184679" cy="1011435"/>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6" name="Freeform 1344"/>
            <p:cNvSpPr>
              <a:spLocks/>
            </p:cNvSpPr>
            <p:nvPr/>
          </p:nvSpPr>
          <p:spPr bwMode="auto">
            <a:xfrm>
              <a:off x="3097036" y="5959249"/>
              <a:ext cx="61560" cy="939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7" name="Freeform 1345"/>
            <p:cNvSpPr>
              <a:spLocks/>
            </p:cNvSpPr>
            <p:nvPr/>
          </p:nvSpPr>
          <p:spPr bwMode="auto">
            <a:xfrm>
              <a:off x="3555753" y="4600009"/>
              <a:ext cx="11915" cy="9994"/>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0" name="Freeform 1346"/>
            <p:cNvSpPr>
              <a:spLocks/>
            </p:cNvSpPr>
            <p:nvPr/>
          </p:nvSpPr>
          <p:spPr bwMode="auto">
            <a:xfrm>
              <a:off x="3569654" y="4610004"/>
              <a:ext cx="7943" cy="3998"/>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1" name="Freeform 1347"/>
            <p:cNvSpPr>
              <a:spLocks/>
            </p:cNvSpPr>
            <p:nvPr/>
          </p:nvSpPr>
          <p:spPr bwMode="auto">
            <a:xfrm>
              <a:off x="3551781" y="4614002"/>
              <a:ext cx="45673" cy="33981"/>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2" name="Freeform 1348"/>
            <p:cNvSpPr>
              <a:spLocks/>
            </p:cNvSpPr>
            <p:nvPr/>
          </p:nvSpPr>
          <p:spPr bwMode="auto">
            <a:xfrm>
              <a:off x="3537882" y="4610004"/>
              <a:ext cx="13901" cy="15991"/>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3" name="Freeform 1349"/>
            <p:cNvSpPr>
              <a:spLocks/>
            </p:cNvSpPr>
            <p:nvPr/>
          </p:nvSpPr>
          <p:spPr bwMode="auto">
            <a:xfrm>
              <a:off x="3561711" y="4600009"/>
              <a:ext cx="1986" cy="1999"/>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4" name="Freeform 1350"/>
            <p:cNvSpPr>
              <a:spLocks/>
            </p:cNvSpPr>
            <p:nvPr/>
          </p:nvSpPr>
          <p:spPr bwMode="auto">
            <a:xfrm>
              <a:off x="3553768" y="4610004"/>
              <a:ext cx="3971" cy="1999"/>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5" name="Freeform 1351"/>
            <p:cNvSpPr>
              <a:spLocks/>
            </p:cNvSpPr>
            <p:nvPr/>
          </p:nvSpPr>
          <p:spPr bwMode="auto">
            <a:xfrm>
              <a:off x="3043420" y="4496067"/>
              <a:ext cx="847933" cy="895500"/>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6" name="Freeform 1352"/>
            <p:cNvSpPr>
              <a:spLocks/>
            </p:cNvSpPr>
            <p:nvPr/>
          </p:nvSpPr>
          <p:spPr bwMode="auto">
            <a:xfrm>
              <a:off x="2932215" y="4336157"/>
              <a:ext cx="262125" cy="363797"/>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7" name="Freeform 1353"/>
            <p:cNvSpPr>
              <a:spLocks/>
            </p:cNvSpPr>
            <p:nvPr/>
          </p:nvSpPr>
          <p:spPr bwMode="auto">
            <a:xfrm>
              <a:off x="3132780" y="4819886"/>
              <a:ext cx="262125" cy="30183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8" name="Freeform 1354"/>
            <p:cNvSpPr>
              <a:spLocks/>
            </p:cNvSpPr>
            <p:nvPr/>
          </p:nvSpPr>
          <p:spPr bwMode="auto">
            <a:xfrm>
              <a:off x="3377033" y="5297620"/>
              <a:ext cx="117162" cy="125929"/>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9" name="Freeform 1355"/>
            <p:cNvSpPr>
              <a:spLocks/>
            </p:cNvSpPr>
            <p:nvPr/>
          </p:nvSpPr>
          <p:spPr bwMode="auto">
            <a:xfrm>
              <a:off x="3317459" y="4428105"/>
              <a:ext cx="105247" cy="153914"/>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0" name="Freeform 1356"/>
            <p:cNvSpPr>
              <a:spLocks/>
            </p:cNvSpPr>
            <p:nvPr/>
          </p:nvSpPr>
          <p:spPr bwMode="auto">
            <a:xfrm>
              <a:off x="3466392" y="4486073"/>
              <a:ext cx="63545" cy="79956"/>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1" name="Freeform 1357"/>
            <p:cNvSpPr>
              <a:spLocks/>
            </p:cNvSpPr>
            <p:nvPr/>
          </p:nvSpPr>
          <p:spPr bwMode="auto">
            <a:xfrm>
              <a:off x="2880585" y="4612002"/>
              <a:ext cx="272053" cy="401775"/>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2" name="Freeform 1358"/>
            <p:cNvSpPr>
              <a:spLocks/>
            </p:cNvSpPr>
            <p:nvPr/>
          </p:nvSpPr>
          <p:spPr bwMode="auto">
            <a:xfrm>
              <a:off x="3053348" y="5095732"/>
              <a:ext cx="428931" cy="857521"/>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3" name="Freeform 1359"/>
            <p:cNvSpPr>
              <a:spLocks/>
            </p:cNvSpPr>
            <p:nvPr/>
          </p:nvSpPr>
          <p:spPr bwMode="auto">
            <a:xfrm>
              <a:off x="3156609" y="5965247"/>
              <a:ext cx="75460" cy="89949"/>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4" name="Freeform 1360"/>
            <p:cNvSpPr>
              <a:spLocks/>
            </p:cNvSpPr>
            <p:nvPr/>
          </p:nvSpPr>
          <p:spPr bwMode="auto">
            <a:xfrm>
              <a:off x="3386961" y="4480076"/>
              <a:ext cx="89361" cy="89949"/>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5" name="Freeform 1363"/>
            <p:cNvSpPr>
              <a:spLocks/>
            </p:cNvSpPr>
            <p:nvPr/>
          </p:nvSpPr>
          <p:spPr bwMode="auto">
            <a:xfrm>
              <a:off x="2743274" y="4278994"/>
              <a:ext cx="93399" cy="93961"/>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6" name="Freeform 1364"/>
            <p:cNvSpPr>
              <a:spLocks/>
            </p:cNvSpPr>
            <p:nvPr/>
          </p:nvSpPr>
          <p:spPr bwMode="auto">
            <a:xfrm>
              <a:off x="2842635" y="4398944"/>
              <a:ext cx="127182" cy="53978"/>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7" name="Freeform 1365"/>
            <p:cNvSpPr>
              <a:spLocks/>
            </p:cNvSpPr>
            <p:nvPr/>
          </p:nvSpPr>
          <p:spPr bwMode="auto">
            <a:xfrm>
              <a:off x="2641926" y="4215021"/>
              <a:ext cx="85451" cy="93961"/>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8" name="Freeform 1366"/>
            <p:cNvSpPr>
              <a:spLocks/>
            </p:cNvSpPr>
            <p:nvPr/>
          </p:nvSpPr>
          <p:spPr bwMode="auto">
            <a:xfrm>
              <a:off x="2707504" y="4201026"/>
              <a:ext cx="23847" cy="57975"/>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9" name="Freeform 1367"/>
            <p:cNvSpPr>
              <a:spLocks/>
            </p:cNvSpPr>
            <p:nvPr/>
          </p:nvSpPr>
          <p:spPr bwMode="auto">
            <a:xfrm>
              <a:off x="2689619" y="4292988"/>
              <a:ext cx="49681" cy="27988"/>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0" name="Freeform 1368"/>
            <p:cNvSpPr>
              <a:spLocks/>
            </p:cNvSpPr>
            <p:nvPr/>
          </p:nvSpPr>
          <p:spPr bwMode="auto">
            <a:xfrm>
              <a:off x="2781031" y="4364958"/>
              <a:ext cx="71541" cy="63973"/>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1" name="Freeform 1369"/>
            <p:cNvSpPr>
              <a:spLocks/>
            </p:cNvSpPr>
            <p:nvPr/>
          </p:nvSpPr>
          <p:spPr bwMode="auto">
            <a:xfrm>
              <a:off x="2703530" y="4257002"/>
              <a:ext cx="133144" cy="67972"/>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2" name="Freeform 1371"/>
            <p:cNvSpPr>
              <a:spLocks/>
            </p:cNvSpPr>
            <p:nvPr/>
          </p:nvSpPr>
          <p:spPr bwMode="auto">
            <a:xfrm>
              <a:off x="3087064" y="4167040"/>
              <a:ext cx="75514" cy="51978"/>
            </a:xfrm>
            <a:custGeom>
              <a:avLst/>
              <a:gdLst/>
              <a:ahLst/>
              <a:cxnLst>
                <a:cxn ang="0">
                  <a:pos x="5" y="2"/>
                </a:cxn>
                <a:cxn ang="0">
                  <a:pos x="20" y="0"/>
                </a:cxn>
                <a:cxn ang="0">
                  <a:pos x="60" y="1"/>
                </a:cxn>
                <a:cxn ang="0">
                  <a:pos x="89" y="13"/>
                </a:cxn>
                <a:cxn ang="0">
                  <a:pos x="108" y="20"/>
                </a:cxn>
                <a:cxn ang="0">
                  <a:pos x="113" y="32"/>
                </a:cxn>
                <a:cxn ang="0">
                  <a:pos x="141" y="33"/>
                </a:cxn>
                <a:cxn ang="0">
                  <a:pos x="145" y="39"/>
                </a:cxn>
                <a:cxn ang="0">
                  <a:pos x="127" y="43"/>
                </a:cxn>
                <a:cxn ang="0">
                  <a:pos x="140" y="52"/>
                </a:cxn>
                <a:cxn ang="0">
                  <a:pos x="172" y="59"/>
                </a:cxn>
                <a:cxn ang="0">
                  <a:pos x="189" y="70"/>
                </a:cxn>
                <a:cxn ang="0">
                  <a:pos x="189" y="81"/>
                </a:cxn>
                <a:cxn ang="0">
                  <a:pos x="176" y="96"/>
                </a:cxn>
                <a:cxn ang="0">
                  <a:pos x="164" y="91"/>
                </a:cxn>
                <a:cxn ang="0">
                  <a:pos x="124" y="85"/>
                </a:cxn>
                <a:cxn ang="0">
                  <a:pos x="97" y="91"/>
                </a:cxn>
                <a:cxn ang="0">
                  <a:pos x="92" y="97"/>
                </a:cxn>
                <a:cxn ang="0">
                  <a:pos x="71" y="103"/>
                </a:cxn>
                <a:cxn ang="0">
                  <a:pos x="65" y="88"/>
                </a:cxn>
                <a:cxn ang="0">
                  <a:pos x="51" y="91"/>
                </a:cxn>
                <a:cxn ang="0">
                  <a:pos x="41" y="102"/>
                </a:cxn>
                <a:cxn ang="0">
                  <a:pos x="30" y="118"/>
                </a:cxn>
                <a:cxn ang="0">
                  <a:pos x="19" y="130"/>
                </a:cxn>
                <a:cxn ang="0">
                  <a:pos x="16" y="128"/>
                </a:cxn>
                <a:cxn ang="0">
                  <a:pos x="7" y="122"/>
                </a:cxn>
                <a:cxn ang="0">
                  <a:pos x="5" y="108"/>
                </a:cxn>
                <a:cxn ang="0">
                  <a:pos x="7" y="92"/>
                </a:cxn>
                <a:cxn ang="0">
                  <a:pos x="0" y="80"/>
                </a:cxn>
                <a:cxn ang="0">
                  <a:pos x="2" y="72"/>
                </a:cxn>
                <a:cxn ang="0">
                  <a:pos x="8" y="50"/>
                </a:cxn>
                <a:cxn ang="0">
                  <a:pos x="13" y="40"/>
                </a:cxn>
                <a:cxn ang="0">
                  <a:pos x="11" y="22"/>
                </a:cxn>
                <a:cxn ang="0">
                  <a:pos x="2" y="6"/>
                </a:cxn>
              </a:cxnLst>
              <a:rect l="0" t="0" r="r" b="b"/>
              <a:pathLst>
                <a:path w="189" h="130">
                  <a:moveTo>
                    <a:pt x="3" y="5"/>
                  </a:moveTo>
                  <a:lnTo>
                    <a:pt x="5" y="2"/>
                  </a:lnTo>
                  <a:lnTo>
                    <a:pt x="9" y="0"/>
                  </a:lnTo>
                  <a:lnTo>
                    <a:pt x="20" y="0"/>
                  </a:lnTo>
                  <a:lnTo>
                    <a:pt x="33" y="1"/>
                  </a:lnTo>
                  <a:lnTo>
                    <a:pt x="60" y="1"/>
                  </a:lnTo>
                  <a:lnTo>
                    <a:pt x="75" y="5"/>
                  </a:lnTo>
                  <a:lnTo>
                    <a:pt x="89" y="13"/>
                  </a:lnTo>
                  <a:lnTo>
                    <a:pt x="103" y="15"/>
                  </a:lnTo>
                  <a:lnTo>
                    <a:pt x="108" y="20"/>
                  </a:lnTo>
                  <a:lnTo>
                    <a:pt x="110" y="29"/>
                  </a:lnTo>
                  <a:lnTo>
                    <a:pt x="113" y="32"/>
                  </a:lnTo>
                  <a:lnTo>
                    <a:pt x="122" y="33"/>
                  </a:lnTo>
                  <a:lnTo>
                    <a:pt x="141" y="33"/>
                  </a:lnTo>
                  <a:lnTo>
                    <a:pt x="143" y="36"/>
                  </a:lnTo>
                  <a:lnTo>
                    <a:pt x="145" y="39"/>
                  </a:lnTo>
                  <a:lnTo>
                    <a:pt x="136" y="43"/>
                  </a:lnTo>
                  <a:lnTo>
                    <a:pt x="127" y="43"/>
                  </a:lnTo>
                  <a:lnTo>
                    <a:pt x="126" y="47"/>
                  </a:lnTo>
                  <a:lnTo>
                    <a:pt x="140" y="52"/>
                  </a:lnTo>
                  <a:lnTo>
                    <a:pt x="165" y="52"/>
                  </a:lnTo>
                  <a:lnTo>
                    <a:pt x="172" y="59"/>
                  </a:lnTo>
                  <a:lnTo>
                    <a:pt x="181" y="68"/>
                  </a:lnTo>
                  <a:lnTo>
                    <a:pt x="189" y="70"/>
                  </a:lnTo>
                  <a:lnTo>
                    <a:pt x="189" y="72"/>
                  </a:lnTo>
                  <a:lnTo>
                    <a:pt x="189" y="81"/>
                  </a:lnTo>
                  <a:lnTo>
                    <a:pt x="185" y="88"/>
                  </a:lnTo>
                  <a:lnTo>
                    <a:pt x="176" y="96"/>
                  </a:lnTo>
                  <a:lnTo>
                    <a:pt x="169" y="96"/>
                  </a:lnTo>
                  <a:lnTo>
                    <a:pt x="164" y="91"/>
                  </a:lnTo>
                  <a:lnTo>
                    <a:pt x="153" y="86"/>
                  </a:lnTo>
                  <a:lnTo>
                    <a:pt x="124" y="85"/>
                  </a:lnTo>
                  <a:lnTo>
                    <a:pt x="103" y="87"/>
                  </a:lnTo>
                  <a:lnTo>
                    <a:pt x="97" y="91"/>
                  </a:lnTo>
                  <a:lnTo>
                    <a:pt x="94" y="96"/>
                  </a:lnTo>
                  <a:lnTo>
                    <a:pt x="92" y="97"/>
                  </a:lnTo>
                  <a:lnTo>
                    <a:pt x="83" y="101"/>
                  </a:lnTo>
                  <a:lnTo>
                    <a:pt x="71" y="103"/>
                  </a:lnTo>
                  <a:lnTo>
                    <a:pt x="65" y="91"/>
                  </a:lnTo>
                  <a:lnTo>
                    <a:pt x="65" y="88"/>
                  </a:lnTo>
                  <a:lnTo>
                    <a:pt x="56" y="88"/>
                  </a:lnTo>
                  <a:lnTo>
                    <a:pt x="51" y="91"/>
                  </a:lnTo>
                  <a:lnTo>
                    <a:pt x="48" y="93"/>
                  </a:lnTo>
                  <a:lnTo>
                    <a:pt x="41" y="102"/>
                  </a:lnTo>
                  <a:lnTo>
                    <a:pt x="34" y="114"/>
                  </a:lnTo>
                  <a:lnTo>
                    <a:pt x="30" y="118"/>
                  </a:lnTo>
                  <a:lnTo>
                    <a:pt x="30" y="120"/>
                  </a:lnTo>
                  <a:lnTo>
                    <a:pt x="19" y="130"/>
                  </a:lnTo>
                  <a:lnTo>
                    <a:pt x="16" y="130"/>
                  </a:lnTo>
                  <a:lnTo>
                    <a:pt x="16" y="128"/>
                  </a:lnTo>
                  <a:lnTo>
                    <a:pt x="8" y="123"/>
                  </a:lnTo>
                  <a:lnTo>
                    <a:pt x="7" y="122"/>
                  </a:lnTo>
                  <a:lnTo>
                    <a:pt x="7" y="112"/>
                  </a:lnTo>
                  <a:lnTo>
                    <a:pt x="5" y="108"/>
                  </a:lnTo>
                  <a:lnTo>
                    <a:pt x="6" y="106"/>
                  </a:lnTo>
                  <a:lnTo>
                    <a:pt x="7" y="92"/>
                  </a:lnTo>
                  <a:lnTo>
                    <a:pt x="6" y="86"/>
                  </a:lnTo>
                  <a:lnTo>
                    <a:pt x="0" y="80"/>
                  </a:lnTo>
                  <a:lnTo>
                    <a:pt x="0" y="76"/>
                  </a:lnTo>
                  <a:lnTo>
                    <a:pt x="2" y="72"/>
                  </a:lnTo>
                  <a:lnTo>
                    <a:pt x="9" y="66"/>
                  </a:lnTo>
                  <a:lnTo>
                    <a:pt x="8" y="50"/>
                  </a:lnTo>
                  <a:lnTo>
                    <a:pt x="12" y="47"/>
                  </a:lnTo>
                  <a:lnTo>
                    <a:pt x="13" y="40"/>
                  </a:lnTo>
                  <a:lnTo>
                    <a:pt x="9" y="36"/>
                  </a:lnTo>
                  <a:lnTo>
                    <a:pt x="11" y="22"/>
                  </a:lnTo>
                  <a:lnTo>
                    <a:pt x="8" y="13"/>
                  </a:lnTo>
                  <a:lnTo>
                    <a:pt x="2" y="6"/>
                  </a:lnTo>
                  <a:lnTo>
                    <a:pt x="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3" name="Freeform 1372"/>
            <p:cNvSpPr>
              <a:spLocks/>
            </p:cNvSpPr>
            <p:nvPr/>
          </p:nvSpPr>
          <p:spPr bwMode="auto">
            <a:xfrm>
              <a:off x="3031422" y="4167040"/>
              <a:ext cx="61603" cy="43982"/>
            </a:xfrm>
            <a:custGeom>
              <a:avLst/>
              <a:gdLst/>
              <a:ahLst/>
              <a:cxnLst>
                <a:cxn ang="0">
                  <a:pos x="144" y="109"/>
                </a:cxn>
                <a:cxn ang="0">
                  <a:pos x="145" y="107"/>
                </a:cxn>
                <a:cxn ang="0">
                  <a:pos x="147" y="93"/>
                </a:cxn>
                <a:cxn ang="0">
                  <a:pos x="145" y="87"/>
                </a:cxn>
                <a:cxn ang="0">
                  <a:pos x="140" y="81"/>
                </a:cxn>
                <a:cxn ang="0">
                  <a:pos x="140" y="77"/>
                </a:cxn>
                <a:cxn ang="0">
                  <a:pos x="141" y="73"/>
                </a:cxn>
                <a:cxn ang="0">
                  <a:pos x="148" y="67"/>
                </a:cxn>
                <a:cxn ang="0">
                  <a:pos x="147" y="51"/>
                </a:cxn>
                <a:cxn ang="0">
                  <a:pos x="151" y="48"/>
                </a:cxn>
                <a:cxn ang="0">
                  <a:pos x="153" y="41"/>
                </a:cxn>
                <a:cxn ang="0">
                  <a:pos x="148" y="37"/>
                </a:cxn>
                <a:cxn ang="0">
                  <a:pos x="150" y="23"/>
                </a:cxn>
                <a:cxn ang="0">
                  <a:pos x="147" y="14"/>
                </a:cxn>
                <a:cxn ang="0">
                  <a:pos x="141" y="7"/>
                </a:cxn>
                <a:cxn ang="0">
                  <a:pos x="142" y="6"/>
                </a:cxn>
                <a:cxn ang="0">
                  <a:pos x="141" y="6"/>
                </a:cxn>
                <a:cxn ang="0">
                  <a:pos x="135" y="11"/>
                </a:cxn>
                <a:cxn ang="0">
                  <a:pos x="112" y="11"/>
                </a:cxn>
                <a:cxn ang="0">
                  <a:pos x="105" y="10"/>
                </a:cxn>
                <a:cxn ang="0">
                  <a:pos x="98" y="5"/>
                </a:cxn>
                <a:cxn ang="0">
                  <a:pos x="89" y="1"/>
                </a:cxn>
                <a:cxn ang="0">
                  <a:pos x="77" y="0"/>
                </a:cxn>
                <a:cxn ang="0">
                  <a:pos x="61" y="2"/>
                </a:cxn>
                <a:cxn ang="0">
                  <a:pos x="55" y="6"/>
                </a:cxn>
                <a:cxn ang="0">
                  <a:pos x="51" y="11"/>
                </a:cxn>
                <a:cxn ang="0">
                  <a:pos x="53" y="17"/>
                </a:cxn>
                <a:cxn ang="0">
                  <a:pos x="56" y="18"/>
                </a:cxn>
                <a:cxn ang="0">
                  <a:pos x="77" y="18"/>
                </a:cxn>
                <a:cxn ang="0">
                  <a:pos x="86" y="23"/>
                </a:cxn>
                <a:cxn ang="0">
                  <a:pos x="87" y="29"/>
                </a:cxn>
                <a:cxn ang="0">
                  <a:pos x="87" y="51"/>
                </a:cxn>
                <a:cxn ang="0">
                  <a:pos x="89" y="56"/>
                </a:cxn>
                <a:cxn ang="0">
                  <a:pos x="102" y="67"/>
                </a:cxn>
                <a:cxn ang="0">
                  <a:pos x="110" y="71"/>
                </a:cxn>
                <a:cxn ang="0">
                  <a:pos x="110" y="77"/>
                </a:cxn>
                <a:cxn ang="0">
                  <a:pos x="108" y="80"/>
                </a:cxn>
                <a:cxn ang="0">
                  <a:pos x="101" y="80"/>
                </a:cxn>
                <a:cxn ang="0">
                  <a:pos x="89" y="82"/>
                </a:cxn>
                <a:cxn ang="0">
                  <a:pos x="65" y="83"/>
                </a:cxn>
                <a:cxn ang="0">
                  <a:pos x="45" y="81"/>
                </a:cxn>
                <a:cxn ang="0">
                  <a:pos x="32" y="77"/>
                </a:cxn>
                <a:cxn ang="0">
                  <a:pos x="1" y="77"/>
                </a:cxn>
                <a:cxn ang="0">
                  <a:pos x="0" y="80"/>
                </a:cxn>
                <a:cxn ang="0">
                  <a:pos x="0" y="86"/>
                </a:cxn>
                <a:cxn ang="0">
                  <a:pos x="7" y="96"/>
                </a:cxn>
                <a:cxn ang="0">
                  <a:pos x="22" y="102"/>
                </a:cxn>
                <a:cxn ang="0">
                  <a:pos x="28" y="108"/>
                </a:cxn>
                <a:cxn ang="0">
                  <a:pos x="32" y="107"/>
                </a:cxn>
                <a:cxn ang="0">
                  <a:pos x="32" y="102"/>
                </a:cxn>
                <a:cxn ang="0">
                  <a:pos x="34" y="99"/>
                </a:cxn>
                <a:cxn ang="0">
                  <a:pos x="39" y="97"/>
                </a:cxn>
                <a:cxn ang="0">
                  <a:pos x="43" y="97"/>
                </a:cxn>
                <a:cxn ang="0">
                  <a:pos x="59" y="97"/>
                </a:cxn>
                <a:cxn ang="0">
                  <a:pos x="87" y="104"/>
                </a:cxn>
                <a:cxn ang="0">
                  <a:pos x="96" y="104"/>
                </a:cxn>
                <a:cxn ang="0">
                  <a:pos x="113" y="99"/>
                </a:cxn>
                <a:cxn ang="0">
                  <a:pos x="120" y="99"/>
                </a:cxn>
                <a:cxn ang="0">
                  <a:pos x="126" y="100"/>
                </a:cxn>
                <a:cxn ang="0">
                  <a:pos x="132" y="103"/>
                </a:cxn>
                <a:cxn ang="0">
                  <a:pos x="137" y="104"/>
                </a:cxn>
                <a:cxn ang="0">
                  <a:pos x="144" y="108"/>
                </a:cxn>
                <a:cxn ang="0">
                  <a:pos x="144" y="109"/>
                </a:cxn>
              </a:cxnLst>
              <a:rect l="0" t="0" r="r" b="b"/>
              <a:pathLst>
                <a:path w="153" h="109">
                  <a:moveTo>
                    <a:pt x="144" y="109"/>
                  </a:moveTo>
                  <a:lnTo>
                    <a:pt x="145" y="107"/>
                  </a:lnTo>
                  <a:lnTo>
                    <a:pt x="147" y="93"/>
                  </a:lnTo>
                  <a:lnTo>
                    <a:pt x="145" y="87"/>
                  </a:lnTo>
                  <a:lnTo>
                    <a:pt x="140" y="81"/>
                  </a:lnTo>
                  <a:lnTo>
                    <a:pt x="140" y="77"/>
                  </a:lnTo>
                  <a:lnTo>
                    <a:pt x="141" y="73"/>
                  </a:lnTo>
                  <a:lnTo>
                    <a:pt x="148" y="67"/>
                  </a:lnTo>
                  <a:lnTo>
                    <a:pt x="147" y="51"/>
                  </a:lnTo>
                  <a:lnTo>
                    <a:pt x="151" y="48"/>
                  </a:lnTo>
                  <a:lnTo>
                    <a:pt x="153" y="41"/>
                  </a:lnTo>
                  <a:lnTo>
                    <a:pt x="148" y="37"/>
                  </a:lnTo>
                  <a:lnTo>
                    <a:pt x="150" y="23"/>
                  </a:lnTo>
                  <a:lnTo>
                    <a:pt x="147" y="14"/>
                  </a:lnTo>
                  <a:lnTo>
                    <a:pt x="141" y="7"/>
                  </a:lnTo>
                  <a:lnTo>
                    <a:pt x="142" y="6"/>
                  </a:lnTo>
                  <a:lnTo>
                    <a:pt x="141" y="6"/>
                  </a:lnTo>
                  <a:lnTo>
                    <a:pt x="135" y="11"/>
                  </a:lnTo>
                  <a:lnTo>
                    <a:pt x="112" y="11"/>
                  </a:lnTo>
                  <a:lnTo>
                    <a:pt x="105" y="10"/>
                  </a:lnTo>
                  <a:lnTo>
                    <a:pt x="98" y="5"/>
                  </a:lnTo>
                  <a:lnTo>
                    <a:pt x="89" y="1"/>
                  </a:lnTo>
                  <a:lnTo>
                    <a:pt x="77" y="0"/>
                  </a:lnTo>
                  <a:lnTo>
                    <a:pt x="61" y="2"/>
                  </a:lnTo>
                  <a:lnTo>
                    <a:pt x="55" y="6"/>
                  </a:lnTo>
                  <a:lnTo>
                    <a:pt x="51" y="11"/>
                  </a:lnTo>
                  <a:lnTo>
                    <a:pt x="53" y="17"/>
                  </a:lnTo>
                  <a:lnTo>
                    <a:pt x="56" y="18"/>
                  </a:lnTo>
                  <a:lnTo>
                    <a:pt x="77" y="18"/>
                  </a:lnTo>
                  <a:lnTo>
                    <a:pt x="86" y="23"/>
                  </a:lnTo>
                  <a:lnTo>
                    <a:pt x="87" y="29"/>
                  </a:lnTo>
                  <a:lnTo>
                    <a:pt x="87" y="51"/>
                  </a:lnTo>
                  <a:lnTo>
                    <a:pt x="89" y="56"/>
                  </a:lnTo>
                  <a:lnTo>
                    <a:pt x="102" y="67"/>
                  </a:lnTo>
                  <a:lnTo>
                    <a:pt x="110" y="71"/>
                  </a:lnTo>
                  <a:lnTo>
                    <a:pt x="110" y="77"/>
                  </a:lnTo>
                  <a:lnTo>
                    <a:pt x="108" y="80"/>
                  </a:lnTo>
                  <a:lnTo>
                    <a:pt x="101" y="80"/>
                  </a:lnTo>
                  <a:lnTo>
                    <a:pt x="89" y="82"/>
                  </a:lnTo>
                  <a:lnTo>
                    <a:pt x="65" y="83"/>
                  </a:lnTo>
                  <a:lnTo>
                    <a:pt x="45" y="81"/>
                  </a:lnTo>
                  <a:lnTo>
                    <a:pt x="32" y="77"/>
                  </a:lnTo>
                  <a:lnTo>
                    <a:pt x="1" y="77"/>
                  </a:lnTo>
                  <a:lnTo>
                    <a:pt x="0" y="80"/>
                  </a:lnTo>
                  <a:lnTo>
                    <a:pt x="0" y="86"/>
                  </a:lnTo>
                  <a:lnTo>
                    <a:pt x="7" y="96"/>
                  </a:lnTo>
                  <a:lnTo>
                    <a:pt x="22" y="102"/>
                  </a:lnTo>
                  <a:lnTo>
                    <a:pt x="28" y="108"/>
                  </a:lnTo>
                  <a:lnTo>
                    <a:pt x="32" y="107"/>
                  </a:lnTo>
                  <a:lnTo>
                    <a:pt x="32" y="102"/>
                  </a:lnTo>
                  <a:lnTo>
                    <a:pt x="34" y="99"/>
                  </a:lnTo>
                  <a:lnTo>
                    <a:pt x="39" y="97"/>
                  </a:lnTo>
                  <a:lnTo>
                    <a:pt x="43" y="97"/>
                  </a:lnTo>
                  <a:lnTo>
                    <a:pt x="59" y="97"/>
                  </a:lnTo>
                  <a:lnTo>
                    <a:pt x="87" y="104"/>
                  </a:lnTo>
                  <a:lnTo>
                    <a:pt x="96" y="104"/>
                  </a:lnTo>
                  <a:lnTo>
                    <a:pt x="113" y="99"/>
                  </a:lnTo>
                  <a:lnTo>
                    <a:pt x="120" y="99"/>
                  </a:lnTo>
                  <a:lnTo>
                    <a:pt x="126" y="100"/>
                  </a:lnTo>
                  <a:lnTo>
                    <a:pt x="132" y="103"/>
                  </a:lnTo>
                  <a:lnTo>
                    <a:pt x="137" y="104"/>
                  </a:lnTo>
                  <a:lnTo>
                    <a:pt x="144" y="108"/>
                  </a:lnTo>
                  <a:lnTo>
                    <a:pt x="144" y="1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4" name="Freeform 1373"/>
            <p:cNvSpPr>
              <a:spLocks/>
            </p:cNvSpPr>
            <p:nvPr/>
          </p:nvSpPr>
          <p:spPr bwMode="auto">
            <a:xfrm>
              <a:off x="2802891" y="4091072"/>
              <a:ext cx="230517" cy="77968"/>
            </a:xfrm>
            <a:custGeom>
              <a:avLst/>
              <a:gdLst/>
              <a:ahLst/>
              <a:cxnLst>
                <a:cxn ang="0">
                  <a:pos x="433" y="101"/>
                </a:cxn>
                <a:cxn ang="0">
                  <a:pos x="460" y="113"/>
                </a:cxn>
                <a:cxn ang="0">
                  <a:pos x="480" y="121"/>
                </a:cxn>
                <a:cxn ang="0">
                  <a:pos x="500" y="121"/>
                </a:cxn>
                <a:cxn ang="0">
                  <a:pos x="500" y="138"/>
                </a:cxn>
                <a:cxn ang="0">
                  <a:pos x="508" y="144"/>
                </a:cxn>
                <a:cxn ang="0">
                  <a:pos x="552" y="153"/>
                </a:cxn>
                <a:cxn ang="0">
                  <a:pos x="577" y="167"/>
                </a:cxn>
                <a:cxn ang="0">
                  <a:pos x="546" y="188"/>
                </a:cxn>
                <a:cxn ang="0">
                  <a:pos x="507" y="194"/>
                </a:cxn>
                <a:cxn ang="0">
                  <a:pos x="441" y="191"/>
                </a:cxn>
                <a:cxn ang="0">
                  <a:pos x="395" y="197"/>
                </a:cxn>
                <a:cxn ang="0">
                  <a:pos x="393" y="187"/>
                </a:cxn>
                <a:cxn ang="0">
                  <a:pos x="427" y="167"/>
                </a:cxn>
                <a:cxn ang="0">
                  <a:pos x="421" y="154"/>
                </a:cxn>
                <a:cxn ang="0">
                  <a:pos x="367" y="142"/>
                </a:cxn>
                <a:cxn ang="0">
                  <a:pos x="346" y="116"/>
                </a:cxn>
                <a:cxn ang="0">
                  <a:pos x="319" y="96"/>
                </a:cxn>
                <a:cxn ang="0">
                  <a:pos x="292" y="94"/>
                </a:cxn>
                <a:cxn ang="0">
                  <a:pos x="244" y="73"/>
                </a:cxn>
                <a:cxn ang="0">
                  <a:pos x="206" y="64"/>
                </a:cxn>
                <a:cxn ang="0">
                  <a:pos x="190" y="68"/>
                </a:cxn>
                <a:cxn ang="0">
                  <a:pos x="165" y="63"/>
                </a:cxn>
                <a:cxn ang="0">
                  <a:pos x="151" y="52"/>
                </a:cxn>
                <a:cxn ang="0">
                  <a:pos x="172" y="41"/>
                </a:cxn>
                <a:cxn ang="0">
                  <a:pos x="162" y="34"/>
                </a:cxn>
                <a:cxn ang="0">
                  <a:pos x="104" y="37"/>
                </a:cxn>
                <a:cxn ang="0">
                  <a:pos x="78" y="58"/>
                </a:cxn>
                <a:cxn ang="0">
                  <a:pos x="49" y="72"/>
                </a:cxn>
                <a:cxn ang="0">
                  <a:pos x="22" y="85"/>
                </a:cxn>
                <a:cxn ang="0">
                  <a:pos x="17" y="79"/>
                </a:cxn>
                <a:cxn ang="0">
                  <a:pos x="13" y="70"/>
                </a:cxn>
                <a:cxn ang="0">
                  <a:pos x="24" y="64"/>
                </a:cxn>
                <a:cxn ang="0">
                  <a:pos x="40" y="31"/>
                </a:cxn>
                <a:cxn ang="0">
                  <a:pos x="78" y="15"/>
                </a:cxn>
                <a:cxn ang="0">
                  <a:pos x="174" y="0"/>
                </a:cxn>
                <a:cxn ang="0">
                  <a:pos x="226" y="4"/>
                </a:cxn>
                <a:cxn ang="0">
                  <a:pos x="259" y="11"/>
                </a:cxn>
                <a:cxn ang="0">
                  <a:pos x="285" y="34"/>
                </a:cxn>
                <a:cxn ang="0">
                  <a:pos x="328" y="45"/>
                </a:cxn>
                <a:cxn ang="0">
                  <a:pos x="346" y="52"/>
                </a:cxn>
                <a:cxn ang="0">
                  <a:pos x="346" y="58"/>
                </a:cxn>
                <a:cxn ang="0">
                  <a:pos x="378" y="75"/>
                </a:cxn>
                <a:cxn ang="0">
                  <a:pos x="417" y="90"/>
                </a:cxn>
              </a:cxnLst>
              <a:rect l="0" t="0" r="r" b="b"/>
              <a:pathLst>
                <a:path w="583" h="197">
                  <a:moveTo>
                    <a:pt x="417" y="90"/>
                  </a:moveTo>
                  <a:lnTo>
                    <a:pt x="419" y="91"/>
                  </a:lnTo>
                  <a:lnTo>
                    <a:pt x="433" y="101"/>
                  </a:lnTo>
                  <a:lnTo>
                    <a:pt x="446" y="111"/>
                  </a:lnTo>
                  <a:lnTo>
                    <a:pt x="454" y="113"/>
                  </a:lnTo>
                  <a:lnTo>
                    <a:pt x="460" y="113"/>
                  </a:lnTo>
                  <a:lnTo>
                    <a:pt x="464" y="115"/>
                  </a:lnTo>
                  <a:lnTo>
                    <a:pt x="468" y="117"/>
                  </a:lnTo>
                  <a:lnTo>
                    <a:pt x="480" y="121"/>
                  </a:lnTo>
                  <a:lnTo>
                    <a:pt x="487" y="121"/>
                  </a:lnTo>
                  <a:lnTo>
                    <a:pt x="495" y="119"/>
                  </a:lnTo>
                  <a:lnTo>
                    <a:pt x="500" y="121"/>
                  </a:lnTo>
                  <a:lnTo>
                    <a:pt x="503" y="127"/>
                  </a:lnTo>
                  <a:lnTo>
                    <a:pt x="503" y="131"/>
                  </a:lnTo>
                  <a:lnTo>
                    <a:pt x="500" y="138"/>
                  </a:lnTo>
                  <a:lnTo>
                    <a:pt x="500" y="142"/>
                  </a:lnTo>
                  <a:lnTo>
                    <a:pt x="501" y="143"/>
                  </a:lnTo>
                  <a:lnTo>
                    <a:pt x="508" y="144"/>
                  </a:lnTo>
                  <a:lnTo>
                    <a:pt x="539" y="143"/>
                  </a:lnTo>
                  <a:lnTo>
                    <a:pt x="545" y="145"/>
                  </a:lnTo>
                  <a:lnTo>
                    <a:pt x="552" y="153"/>
                  </a:lnTo>
                  <a:lnTo>
                    <a:pt x="555" y="156"/>
                  </a:lnTo>
                  <a:lnTo>
                    <a:pt x="568" y="166"/>
                  </a:lnTo>
                  <a:lnTo>
                    <a:pt x="577" y="167"/>
                  </a:lnTo>
                  <a:lnTo>
                    <a:pt x="583" y="169"/>
                  </a:lnTo>
                  <a:lnTo>
                    <a:pt x="583" y="176"/>
                  </a:lnTo>
                  <a:lnTo>
                    <a:pt x="546" y="188"/>
                  </a:lnTo>
                  <a:lnTo>
                    <a:pt x="535" y="193"/>
                  </a:lnTo>
                  <a:lnTo>
                    <a:pt x="522" y="196"/>
                  </a:lnTo>
                  <a:lnTo>
                    <a:pt x="507" y="194"/>
                  </a:lnTo>
                  <a:lnTo>
                    <a:pt x="497" y="192"/>
                  </a:lnTo>
                  <a:lnTo>
                    <a:pt x="487" y="191"/>
                  </a:lnTo>
                  <a:lnTo>
                    <a:pt x="441" y="191"/>
                  </a:lnTo>
                  <a:lnTo>
                    <a:pt x="417" y="193"/>
                  </a:lnTo>
                  <a:lnTo>
                    <a:pt x="404" y="197"/>
                  </a:lnTo>
                  <a:lnTo>
                    <a:pt x="395" y="197"/>
                  </a:lnTo>
                  <a:lnTo>
                    <a:pt x="390" y="196"/>
                  </a:lnTo>
                  <a:lnTo>
                    <a:pt x="389" y="192"/>
                  </a:lnTo>
                  <a:lnTo>
                    <a:pt x="393" y="187"/>
                  </a:lnTo>
                  <a:lnTo>
                    <a:pt x="404" y="178"/>
                  </a:lnTo>
                  <a:lnTo>
                    <a:pt x="414" y="172"/>
                  </a:lnTo>
                  <a:lnTo>
                    <a:pt x="427" y="167"/>
                  </a:lnTo>
                  <a:lnTo>
                    <a:pt x="428" y="161"/>
                  </a:lnTo>
                  <a:lnTo>
                    <a:pt x="427" y="158"/>
                  </a:lnTo>
                  <a:lnTo>
                    <a:pt x="421" y="154"/>
                  </a:lnTo>
                  <a:lnTo>
                    <a:pt x="404" y="149"/>
                  </a:lnTo>
                  <a:lnTo>
                    <a:pt x="373" y="147"/>
                  </a:lnTo>
                  <a:lnTo>
                    <a:pt x="367" y="142"/>
                  </a:lnTo>
                  <a:lnTo>
                    <a:pt x="358" y="135"/>
                  </a:lnTo>
                  <a:lnTo>
                    <a:pt x="352" y="128"/>
                  </a:lnTo>
                  <a:lnTo>
                    <a:pt x="346" y="116"/>
                  </a:lnTo>
                  <a:lnTo>
                    <a:pt x="345" y="107"/>
                  </a:lnTo>
                  <a:lnTo>
                    <a:pt x="337" y="99"/>
                  </a:lnTo>
                  <a:lnTo>
                    <a:pt x="319" y="96"/>
                  </a:lnTo>
                  <a:lnTo>
                    <a:pt x="302" y="97"/>
                  </a:lnTo>
                  <a:lnTo>
                    <a:pt x="296" y="96"/>
                  </a:lnTo>
                  <a:lnTo>
                    <a:pt x="292" y="94"/>
                  </a:lnTo>
                  <a:lnTo>
                    <a:pt x="272" y="90"/>
                  </a:lnTo>
                  <a:lnTo>
                    <a:pt x="256" y="83"/>
                  </a:lnTo>
                  <a:lnTo>
                    <a:pt x="244" y="73"/>
                  </a:lnTo>
                  <a:lnTo>
                    <a:pt x="236" y="68"/>
                  </a:lnTo>
                  <a:lnTo>
                    <a:pt x="212" y="68"/>
                  </a:lnTo>
                  <a:lnTo>
                    <a:pt x="206" y="64"/>
                  </a:lnTo>
                  <a:lnTo>
                    <a:pt x="201" y="64"/>
                  </a:lnTo>
                  <a:lnTo>
                    <a:pt x="196" y="67"/>
                  </a:lnTo>
                  <a:lnTo>
                    <a:pt x="190" y="68"/>
                  </a:lnTo>
                  <a:lnTo>
                    <a:pt x="183" y="65"/>
                  </a:lnTo>
                  <a:lnTo>
                    <a:pt x="180" y="63"/>
                  </a:lnTo>
                  <a:lnTo>
                    <a:pt x="165" y="63"/>
                  </a:lnTo>
                  <a:lnTo>
                    <a:pt x="157" y="61"/>
                  </a:lnTo>
                  <a:lnTo>
                    <a:pt x="154" y="58"/>
                  </a:lnTo>
                  <a:lnTo>
                    <a:pt x="151" y="52"/>
                  </a:lnTo>
                  <a:lnTo>
                    <a:pt x="151" y="49"/>
                  </a:lnTo>
                  <a:lnTo>
                    <a:pt x="169" y="45"/>
                  </a:lnTo>
                  <a:lnTo>
                    <a:pt x="172" y="41"/>
                  </a:lnTo>
                  <a:lnTo>
                    <a:pt x="170" y="37"/>
                  </a:lnTo>
                  <a:lnTo>
                    <a:pt x="163" y="36"/>
                  </a:lnTo>
                  <a:lnTo>
                    <a:pt x="162" y="34"/>
                  </a:lnTo>
                  <a:lnTo>
                    <a:pt x="125" y="30"/>
                  </a:lnTo>
                  <a:lnTo>
                    <a:pt x="114" y="31"/>
                  </a:lnTo>
                  <a:lnTo>
                    <a:pt x="104" y="37"/>
                  </a:lnTo>
                  <a:lnTo>
                    <a:pt x="97" y="45"/>
                  </a:lnTo>
                  <a:lnTo>
                    <a:pt x="89" y="53"/>
                  </a:lnTo>
                  <a:lnTo>
                    <a:pt x="78" y="58"/>
                  </a:lnTo>
                  <a:lnTo>
                    <a:pt x="64" y="59"/>
                  </a:lnTo>
                  <a:lnTo>
                    <a:pt x="56" y="62"/>
                  </a:lnTo>
                  <a:lnTo>
                    <a:pt x="49" y="72"/>
                  </a:lnTo>
                  <a:lnTo>
                    <a:pt x="39" y="73"/>
                  </a:lnTo>
                  <a:lnTo>
                    <a:pt x="36" y="74"/>
                  </a:lnTo>
                  <a:lnTo>
                    <a:pt x="22" y="85"/>
                  </a:lnTo>
                  <a:lnTo>
                    <a:pt x="21" y="85"/>
                  </a:lnTo>
                  <a:lnTo>
                    <a:pt x="19" y="83"/>
                  </a:lnTo>
                  <a:lnTo>
                    <a:pt x="17" y="79"/>
                  </a:lnTo>
                  <a:lnTo>
                    <a:pt x="0" y="80"/>
                  </a:lnTo>
                  <a:lnTo>
                    <a:pt x="0" y="78"/>
                  </a:lnTo>
                  <a:lnTo>
                    <a:pt x="13" y="70"/>
                  </a:lnTo>
                  <a:lnTo>
                    <a:pt x="22" y="69"/>
                  </a:lnTo>
                  <a:lnTo>
                    <a:pt x="24" y="68"/>
                  </a:lnTo>
                  <a:lnTo>
                    <a:pt x="24" y="64"/>
                  </a:lnTo>
                  <a:lnTo>
                    <a:pt x="24" y="46"/>
                  </a:lnTo>
                  <a:lnTo>
                    <a:pt x="28" y="41"/>
                  </a:lnTo>
                  <a:lnTo>
                    <a:pt x="40" y="31"/>
                  </a:lnTo>
                  <a:lnTo>
                    <a:pt x="57" y="24"/>
                  </a:lnTo>
                  <a:lnTo>
                    <a:pt x="61" y="22"/>
                  </a:lnTo>
                  <a:lnTo>
                    <a:pt x="78" y="15"/>
                  </a:lnTo>
                  <a:lnTo>
                    <a:pt x="118" y="6"/>
                  </a:lnTo>
                  <a:lnTo>
                    <a:pt x="130" y="2"/>
                  </a:lnTo>
                  <a:lnTo>
                    <a:pt x="174" y="0"/>
                  </a:lnTo>
                  <a:lnTo>
                    <a:pt x="194" y="4"/>
                  </a:lnTo>
                  <a:lnTo>
                    <a:pt x="213" y="5"/>
                  </a:lnTo>
                  <a:lnTo>
                    <a:pt x="226" y="4"/>
                  </a:lnTo>
                  <a:lnTo>
                    <a:pt x="233" y="10"/>
                  </a:lnTo>
                  <a:lnTo>
                    <a:pt x="238" y="13"/>
                  </a:lnTo>
                  <a:lnTo>
                    <a:pt x="259" y="11"/>
                  </a:lnTo>
                  <a:lnTo>
                    <a:pt x="265" y="15"/>
                  </a:lnTo>
                  <a:lnTo>
                    <a:pt x="281" y="27"/>
                  </a:lnTo>
                  <a:lnTo>
                    <a:pt x="285" y="34"/>
                  </a:lnTo>
                  <a:lnTo>
                    <a:pt x="296" y="42"/>
                  </a:lnTo>
                  <a:lnTo>
                    <a:pt x="304" y="46"/>
                  </a:lnTo>
                  <a:lnTo>
                    <a:pt x="328" y="45"/>
                  </a:lnTo>
                  <a:lnTo>
                    <a:pt x="334" y="48"/>
                  </a:lnTo>
                  <a:lnTo>
                    <a:pt x="342" y="48"/>
                  </a:lnTo>
                  <a:lnTo>
                    <a:pt x="346" y="52"/>
                  </a:lnTo>
                  <a:lnTo>
                    <a:pt x="342" y="52"/>
                  </a:lnTo>
                  <a:lnTo>
                    <a:pt x="342" y="56"/>
                  </a:lnTo>
                  <a:lnTo>
                    <a:pt x="346" y="58"/>
                  </a:lnTo>
                  <a:lnTo>
                    <a:pt x="358" y="59"/>
                  </a:lnTo>
                  <a:lnTo>
                    <a:pt x="366" y="63"/>
                  </a:lnTo>
                  <a:lnTo>
                    <a:pt x="378" y="75"/>
                  </a:lnTo>
                  <a:lnTo>
                    <a:pt x="395" y="81"/>
                  </a:lnTo>
                  <a:lnTo>
                    <a:pt x="409" y="88"/>
                  </a:lnTo>
                  <a:lnTo>
                    <a:pt x="417" y="9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5" name="Freeform 1375"/>
            <p:cNvSpPr>
              <a:spLocks/>
            </p:cNvSpPr>
            <p:nvPr/>
          </p:nvSpPr>
          <p:spPr bwMode="auto">
            <a:xfrm>
              <a:off x="2101402" y="3857170"/>
              <a:ext cx="657770" cy="431820"/>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06" name="Group 1376"/>
            <p:cNvGrpSpPr>
              <a:grpSpLocks/>
            </p:cNvGrpSpPr>
            <p:nvPr/>
          </p:nvGrpSpPr>
          <p:grpSpPr bwMode="auto">
            <a:xfrm>
              <a:off x="988558" y="2349795"/>
              <a:ext cx="2209789" cy="1695294"/>
              <a:chOff x="914" y="1431"/>
              <a:chExt cx="1112" cy="848"/>
            </a:xfrm>
            <a:solidFill>
              <a:schemeClr val="bg1">
                <a:lumMod val="75000"/>
              </a:schemeClr>
            </a:solidFill>
          </p:grpSpPr>
          <p:grpSp>
            <p:nvGrpSpPr>
              <p:cNvPr id="1044" name="Group 1377"/>
              <p:cNvGrpSpPr>
                <a:grpSpLocks/>
              </p:cNvGrpSpPr>
              <p:nvPr/>
            </p:nvGrpSpPr>
            <p:grpSpPr bwMode="auto">
              <a:xfrm>
                <a:off x="914" y="1431"/>
                <a:ext cx="418" cy="413"/>
                <a:chOff x="914" y="1431"/>
                <a:chExt cx="418" cy="413"/>
              </a:xfrm>
              <a:grpFill/>
            </p:grpSpPr>
            <p:sp>
              <p:nvSpPr>
                <p:cNvPr id="1051" name="Freeform 1378"/>
                <p:cNvSpPr>
                  <a:spLocks/>
                </p:cNvSpPr>
                <p:nvPr/>
              </p:nvSpPr>
              <p:spPr bwMode="auto">
                <a:xfrm>
                  <a:off x="1018" y="1813"/>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52" name="Freeform 1379"/>
                <p:cNvSpPr>
                  <a:spLocks/>
                </p:cNvSpPr>
                <p:nvPr/>
              </p:nvSpPr>
              <p:spPr bwMode="auto">
                <a:xfrm>
                  <a:off x="1075" y="1796"/>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53" name="Freeform 1380"/>
                <p:cNvSpPr>
                  <a:spLocks/>
                </p:cNvSpPr>
                <p:nvPr/>
              </p:nvSpPr>
              <p:spPr bwMode="auto">
                <a:xfrm>
                  <a:off x="1059" y="1781"/>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70" name="Freeform 1381"/>
                <p:cNvSpPr>
                  <a:spLocks/>
                </p:cNvSpPr>
                <p:nvPr/>
              </p:nvSpPr>
              <p:spPr bwMode="auto">
                <a:xfrm>
                  <a:off x="914" y="1431"/>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71" name="Freeform 1382"/>
                <p:cNvSpPr>
                  <a:spLocks/>
                </p:cNvSpPr>
                <p:nvPr/>
              </p:nvSpPr>
              <p:spPr bwMode="auto">
                <a:xfrm>
                  <a:off x="1241" y="1743"/>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1045" name="Group 1383"/>
              <p:cNvGrpSpPr>
                <a:grpSpLocks/>
              </p:cNvGrpSpPr>
              <p:nvPr/>
            </p:nvGrpSpPr>
            <p:grpSpPr bwMode="auto">
              <a:xfrm>
                <a:off x="1391" y="1940"/>
                <a:ext cx="635" cy="339"/>
                <a:chOff x="1391" y="1940"/>
                <a:chExt cx="635" cy="339"/>
              </a:xfrm>
              <a:grpFill/>
            </p:grpSpPr>
            <p:sp>
              <p:nvSpPr>
                <p:cNvPr id="1046" name="Freeform 1384"/>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7" name="Freeform 1385"/>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8" name="Freeform 1386"/>
                <p:cNvSpPr>
                  <a:spLocks/>
                </p:cNvSpPr>
                <p:nvPr/>
              </p:nvSpPr>
              <p:spPr bwMode="auto">
                <a:xfrm>
                  <a:off x="1913" y="2102"/>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9" name="Freeform 1387"/>
                <p:cNvSpPr>
                  <a:spLocks/>
                </p:cNvSpPr>
                <p:nvPr/>
              </p:nvSpPr>
              <p:spPr bwMode="auto">
                <a:xfrm>
                  <a:off x="1912" y="2100"/>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50" name="Freeform 1388"/>
                <p:cNvSpPr>
                  <a:spLocks/>
                </p:cNvSpPr>
                <p:nvPr/>
              </p:nvSpPr>
              <p:spPr bwMode="auto">
                <a:xfrm>
                  <a:off x="1391" y="1940"/>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grpSp>
          <p:nvGrpSpPr>
            <p:cNvPr id="507" name="Group 1389"/>
            <p:cNvGrpSpPr>
              <a:grpSpLocks/>
            </p:cNvGrpSpPr>
            <p:nvPr/>
          </p:nvGrpSpPr>
          <p:grpSpPr bwMode="auto">
            <a:xfrm>
              <a:off x="1578777" y="1558102"/>
              <a:ext cx="1925628" cy="2043127"/>
              <a:chOff x="1211" y="1035"/>
              <a:chExt cx="969" cy="1022"/>
            </a:xfrm>
            <a:solidFill>
              <a:schemeClr val="bg1">
                <a:lumMod val="75000"/>
              </a:schemeClr>
            </a:solidFill>
          </p:grpSpPr>
          <p:sp>
            <p:nvSpPr>
              <p:cNvPr id="1015" name="Freeform 1390"/>
              <p:cNvSpPr>
                <a:spLocks/>
              </p:cNvSpPr>
              <p:nvPr/>
            </p:nvSpPr>
            <p:spPr bwMode="auto">
              <a:xfrm>
                <a:off x="2145" y="1866"/>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6" name="Freeform 1391"/>
              <p:cNvSpPr>
                <a:spLocks/>
              </p:cNvSpPr>
              <p:nvPr/>
            </p:nvSpPr>
            <p:spPr bwMode="auto">
              <a:xfrm>
                <a:off x="2107" y="1901"/>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7" name="Freeform 1392"/>
              <p:cNvSpPr>
                <a:spLocks/>
              </p:cNvSpPr>
              <p:nvPr/>
            </p:nvSpPr>
            <p:spPr bwMode="auto">
              <a:xfrm>
                <a:off x="1350" y="1914"/>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8" name="Freeform 1393"/>
              <p:cNvSpPr>
                <a:spLocks/>
              </p:cNvSpPr>
              <p:nvPr/>
            </p:nvSpPr>
            <p:spPr bwMode="auto">
              <a:xfrm>
                <a:off x="1667" y="1479"/>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9" name="Freeform 1394"/>
              <p:cNvSpPr>
                <a:spLocks/>
              </p:cNvSpPr>
              <p:nvPr/>
            </p:nvSpPr>
            <p:spPr bwMode="auto">
              <a:xfrm>
                <a:off x="1376" y="1309"/>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0" name="Freeform 1395"/>
              <p:cNvSpPr>
                <a:spLocks/>
              </p:cNvSpPr>
              <p:nvPr/>
            </p:nvSpPr>
            <p:spPr bwMode="auto">
              <a:xfrm>
                <a:off x="1452" y="1358"/>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1" name="Freeform 1396"/>
              <p:cNvSpPr>
                <a:spLocks/>
              </p:cNvSpPr>
              <p:nvPr/>
            </p:nvSpPr>
            <p:spPr bwMode="auto">
              <a:xfrm>
                <a:off x="1584" y="1342"/>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2" name="Freeform 1397"/>
              <p:cNvSpPr>
                <a:spLocks/>
              </p:cNvSpPr>
              <p:nvPr/>
            </p:nvSpPr>
            <p:spPr bwMode="auto">
              <a:xfrm>
                <a:off x="1634" y="1337"/>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3" name="Freeform 1398"/>
              <p:cNvSpPr>
                <a:spLocks/>
              </p:cNvSpPr>
              <p:nvPr/>
            </p:nvSpPr>
            <p:spPr bwMode="auto">
              <a:xfrm>
                <a:off x="1630" y="1216"/>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4" name="Freeform 1399"/>
              <p:cNvSpPr>
                <a:spLocks/>
              </p:cNvSpPr>
              <p:nvPr/>
            </p:nvSpPr>
            <p:spPr bwMode="auto">
              <a:xfrm>
                <a:off x="1467" y="1208"/>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5" name="Freeform 1400"/>
              <p:cNvSpPr>
                <a:spLocks/>
              </p:cNvSpPr>
              <p:nvPr/>
            </p:nvSpPr>
            <p:spPr bwMode="auto">
              <a:xfrm>
                <a:off x="1410" y="1174"/>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6" name="Freeform 1401"/>
              <p:cNvSpPr>
                <a:spLocks/>
              </p:cNvSpPr>
              <p:nvPr/>
            </p:nvSpPr>
            <p:spPr bwMode="auto">
              <a:xfrm>
                <a:off x="1513" y="1145"/>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7" name="Freeform 1402"/>
              <p:cNvSpPr>
                <a:spLocks/>
              </p:cNvSpPr>
              <p:nvPr/>
            </p:nvSpPr>
            <p:spPr bwMode="auto">
              <a:xfrm>
                <a:off x="1513" y="1110"/>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8" name="Freeform 1403"/>
              <p:cNvSpPr>
                <a:spLocks/>
              </p:cNvSpPr>
              <p:nvPr/>
            </p:nvSpPr>
            <p:spPr bwMode="auto">
              <a:xfrm>
                <a:off x="1703" y="1161"/>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9" name="Freeform 1404"/>
              <p:cNvSpPr>
                <a:spLocks/>
              </p:cNvSpPr>
              <p:nvPr/>
            </p:nvSpPr>
            <p:spPr bwMode="auto">
              <a:xfrm>
                <a:off x="1694" y="1196"/>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0" name="Freeform 1405"/>
              <p:cNvSpPr>
                <a:spLocks/>
              </p:cNvSpPr>
              <p:nvPr/>
            </p:nvSpPr>
            <p:spPr bwMode="auto">
              <a:xfrm>
                <a:off x="1699" y="1262"/>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1" name="Freeform 1406"/>
              <p:cNvSpPr>
                <a:spLocks/>
              </p:cNvSpPr>
              <p:nvPr/>
            </p:nvSpPr>
            <p:spPr bwMode="auto">
              <a:xfrm>
                <a:off x="1801" y="1595"/>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2" name="Freeform 1407"/>
              <p:cNvSpPr>
                <a:spLocks/>
              </p:cNvSpPr>
              <p:nvPr/>
            </p:nvSpPr>
            <p:spPr bwMode="auto">
              <a:xfrm>
                <a:off x="1910" y="1527"/>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3" name="Freeform 1408"/>
              <p:cNvSpPr>
                <a:spLocks/>
              </p:cNvSpPr>
              <p:nvPr/>
            </p:nvSpPr>
            <p:spPr bwMode="auto">
              <a:xfrm>
                <a:off x="1870" y="1345"/>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4" name="Freeform 1409"/>
              <p:cNvSpPr>
                <a:spLocks/>
              </p:cNvSpPr>
              <p:nvPr/>
            </p:nvSpPr>
            <p:spPr bwMode="auto">
              <a:xfrm>
                <a:off x="1769" y="1340"/>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5" name="Freeform 1410"/>
              <p:cNvSpPr>
                <a:spLocks/>
              </p:cNvSpPr>
              <p:nvPr/>
            </p:nvSpPr>
            <p:spPr bwMode="auto">
              <a:xfrm>
                <a:off x="1211" y="1409"/>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6" name="Freeform 1411"/>
              <p:cNvSpPr>
                <a:spLocks/>
              </p:cNvSpPr>
              <p:nvPr/>
            </p:nvSpPr>
            <p:spPr bwMode="auto">
              <a:xfrm>
                <a:off x="1679" y="1100"/>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7" name="Freeform 1412"/>
              <p:cNvSpPr>
                <a:spLocks/>
              </p:cNvSpPr>
              <p:nvPr/>
            </p:nvSpPr>
            <p:spPr bwMode="auto">
              <a:xfrm>
                <a:off x="1598" y="1075"/>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8" name="Freeform 1413"/>
              <p:cNvSpPr>
                <a:spLocks/>
              </p:cNvSpPr>
              <p:nvPr/>
            </p:nvSpPr>
            <p:spPr bwMode="auto">
              <a:xfrm>
                <a:off x="1704" y="1035"/>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9" name="Freeform 1414"/>
              <p:cNvSpPr>
                <a:spLocks/>
              </p:cNvSpPr>
              <p:nvPr/>
            </p:nvSpPr>
            <p:spPr bwMode="auto">
              <a:xfrm>
                <a:off x="1774" y="1035"/>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0" name="Freeform 1415"/>
              <p:cNvSpPr>
                <a:spLocks/>
              </p:cNvSpPr>
              <p:nvPr/>
            </p:nvSpPr>
            <p:spPr bwMode="auto">
              <a:xfrm>
                <a:off x="1806" y="1228"/>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1" name="Freeform 1416"/>
              <p:cNvSpPr>
                <a:spLocks/>
              </p:cNvSpPr>
              <p:nvPr/>
            </p:nvSpPr>
            <p:spPr bwMode="auto">
              <a:xfrm>
                <a:off x="1806" y="1222"/>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2" name="Freeform 1417"/>
              <p:cNvSpPr>
                <a:spLocks/>
              </p:cNvSpPr>
              <p:nvPr/>
            </p:nvSpPr>
            <p:spPr bwMode="auto">
              <a:xfrm>
                <a:off x="1273" y="1483"/>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3" name="Freeform 1418"/>
              <p:cNvSpPr>
                <a:spLocks/>
              </p:cNvSpPr>
              <p:nvPr/>
            </p:nvSpPr>
            <p:spPr bwMode="auto">
              <a:xfrm>
                <a:off x="1266" y="1498"/>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08" name="Freeform 1420"/>
            <p:cNvSpPr>
              <a:spLocks/>
            </p:cNvSpPr>
            <p:nvPr/>
          </p:nvSpPr>
          <p:spPr bwMode="auto">
            <a:xfrm>
              <a:off x="3693166" y="2965540"/>
              <a:ext cx="7949" cy="7997"/>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9" name="Freeform 1421"/>
            <p:cNvSpPr>
              <a:spLocks/>
            </p:cNvSpPr>
            <p:nvPr/>
          </p:nvSpPr>
          <p:spPr bwMode="auto">
            <a:xfrm>
              <a:off x="4116444" y="2239841"/>
              <a:ext cx="57629" cy="55977"/>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0" name="Freeform 1422"/>
            <p:cNvSpPr>
              <a:spLocks/>
            </p:cNvSpPr>
            <p:nvPr/>
          </p:nvSpPr>
          <p:spPr bwMode="auto">
            <a:xfrm>
              <a:off x="4040929" y="2369787"/>
              <a:ext cx="57629" cy="39983"/>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2" name="Freeform 1423"/>
            <p:cNvSpPr>
              <a:spLocks/>
            </p:cNvSpPr>
            <p:nvPr/>
          </p:nvSpPr>
          <p:spPr bwMode="auto">
            <a:xfrm>
              <a:off x="3456687" y="2417767"/>
              <a:ext cx="65579" cy="65973"/>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4" name="Freeform 1424"/>
            <p:cNvSpPr>
              <a:spLocks/>
            </p:cNvSpPr>
            <p:nvPr/>
          </p:nvSpPr>
          <p:spPr bwMode="auto">
            <a:xfrm>
              <a:off x="3150655" y="1850003"/>
              <a:ext cx="65579" cy="23991"/>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5" name="Freeform 1425"/>
            <p:cNvSpPr>
              <a:spLocks/>
            </p:cNvSpPr>
            <p:nvPr/>
          </p:nvSpPr>
          <p:spPr bwMode="auto">
            <a:xfrm>
              <a:off x="3695153" y="2959542"/>
              <a:ext cx="17885" cy="5998"/>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6" name="Freeform 1426"/>
            <p:cNvSpPr>
              <a:spLocks/>
            </p:cNvSpPr>
            <p:nvPr/>
          </p:nvSpPr>
          <p:spPr bwMode="auto">
            <a:xfrm>
              <a:off x="3063217" y="1558124"/>
              <a:ext cx="1206243" cy="1403417"/>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7" name="Freeform 1429"/>
            <p:cNvSpPr>
              <a:spLocks/>
            </p:cNvSpPr>
            <p:nvPr/>
          </p:nvSpPr>
          <p:spPr bwMode="auto">
            <a:xfrm>
              <a:off x="5701924" y="2469616"/>
              <a:ext cx="45718" cy="49972"/>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8" name="Freeform 1430"/>
            <p:cNvSpPr>
              <a:spLocks/>
            </p:cNvSpPr>
            <p:nvPr/>
          </p:nvSpPr>
          <p:spPr bwMode="auto">
            <a:xfrm>
              <a:off x="6817042" y="1628086"/>
              <a:ext cx="133178" cy="167907"/>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9" name="Freeform 1431"/>
            <p:cNvSpPr>
              <a:spLocks/>
            </p:cNvSpPr>
            <p:nvPr/>
          </p:nvSpPr>
          <p:spPr bwMode="auto">
            <a:xfrm>
              <a:off x="7632011" y="1963898"/>
              <a:ext cx="145105" cy="133925"/>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0" name="Freeform 1432"/>
            <p:cNvSpPr>
              <a:spLocks/>
            </p:cNvSpPr>
            <p:nvPr/>
          </p:nvSpPr>
          <p:spPr bwMode="auto">
            <a:xfrm>
              <a:off x="7733385" y="1969895"/>
              <a:ext cx="87460" cy="99944"/>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1" name="Freeform 1433"/>
            <p:cNvSpPr>
              <a:spLocks/>
            </p:cNvSpPr>
            <p:nvPr/>
          </p:nvSpPr>
          <p:spPr bwMode="auto">
            <a:xfrm>
              <a:off x="7838734" y="2023864"/>
              <a:ext cx="107338" cy="71960"/>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2" name="Freeform 1434"/>
            <p:cNvSpPr>
              <a:spLocks/>
            </p:cNvSpPr>
            <p:nvPr/>
          </p:nvSpPr>
          <p:spPr bwMode="auto">
            <a:xfrm>
              <a:off x="7695618" y="2159788"/>
              <a:ext cx="85472" cy="53970"/>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4" name="Freeform 1435"/>
            <p:cNvSpPr>
              <a:spLocks/>
            </p:cNvSpPr>
            <p:nvPr/>
          </p:nvSpPr>
          <p:spPr bwMode="auto">
            <a:xfrm>
              <a:off x="5773483" y="2201766"/>
              <a:ext cx="135166" cy="203885"/>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5" name="Freeform 1436"/>
            <p:cNvSpPr>
              <a:spLocks/>
            </p:cNvSpPr>
            <p:nvPr/>
          </p:nvSpPr>
          <p:spPr bwMode="auto">
            <a:xfrm>
              <a:off x="5821189" y="1895936"/>
              <a:ext cx="335927" cy="317822"/>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6" name="Freeform 1437"/>
            <p:cNvSpPr>
              <a:spLocks/>
            </p:cNvSpPr>
            <p:nvPr/>
          </p:nvSpPr>
          <p:spPr bwMode="auto">
            <a:xfrm>
              <a:off x="5793360" y="2347684"/>
              <a:ext cx="17890" cy="31982"/>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7" name="Freeform 1438"/>
            <p:cNvSpPr>
              <a:spLocks/>
            </p:cNvSpPr>
            <p:nvPr/>
          </p:nvSpPr>
          <p:spPr bwMode="auto">
            <a:xfrm>
              <a:off x="7685680" y="2265730"/>
              <a:ext cx="33791" cy="25985"/>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8" name="Freeform 1439"/>
            <p:cNvSpPr>
              <a:spLocks/>
            </p:cNvSpPr>
            <p:nvPr/>
          </p:nvSpPr>
          <p:spPr bwMode="auto">
            <a:xfrm>
              <a:off x="5928526" y="2409649"/>
              <a:ext cx="43730" cy="49972"/>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9" name="Freeform 1440"/>
            <p:cNvSpPr>
              <a:spLocks/>
            </p:cNvSpPr>
            <p:nvPr/>
          </p:nvSpPr>
          <p:spPr bwMode="auto">
            <a:xfrm>
              <a:off x="6675912" y="1558124"/>
              <a:ext cx="161006" cy="149916"/>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0" name="Freeform 1441"/>
            <p:cNvSpPr>
              <a:spLocks/>
            </p:cNvSpPr>
            <p:nvPr/>
          </p:nvSpPr>
          <p:spPr bwMode="auto">
            <a:xfrm>
              <a:off x="8542391" y="2333691"/>
              <a:ext cx="87460" cy="49972"/>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1" name="Freeform 1442"/>
            <p:cNvSpPr>
              <a:spLocks/>
            </p:cNvSpPr>
            <p:nvPr/>
          </p:nvSpPr>
          <p:spPr bwMode="auto">
            <a:xfrm>
              <a:off x="5253067" y="1819978"/>
              <a:ext cx="3550086" cy="1800994"/>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2" name="Freeform 1443"/>
            <p:cNvSpPr>
              <a:spLocks/>
            </p:cNvSpPr>
            <p:nvPr/>
          </p:nvSpPr>
          <p:spPr bwMode="auto">
            <a:xfrm>
              <a:off x="5077776" y="3137243"/>
              <a:ext cx="71559" cy="53970"/>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3" name="Freeform 1444"/>
            <p:cNvSpPr>
              <a:spLocks/>
            </p:cNvSpPr>
            <p:nvPr/>
          </p:nvSpPr>
          <p:spPr bwMode="auto">
            <a:xfrm>
              <a:off x="7743323" y="3191212"/>
              <a:ext cx="67582" cy="287839"/>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4" name="Freeform 1447"/>
            <p:cNvSpPr>
              <a:spLocks/>
            </p:cNvSpPr>
            <p:nvPr/>
          </p:nvSpPr>
          <p:spPr bwMode="auto">
            <a:xfrm>
              <a:off x="7806869" y="5581377"/>
              <a:ext cx="79503" cy="85955"/>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5" name="Freeform 1448"/>
            <p:cNvSpPr>
              <a:spLocks/>
            </p:cNvSpPr>
            <p:nvPr/>
          </p:nvSpPr>
          <p:spPr bwMode="auto">
            <a:xfrm>
              <a:off x="7117176" y="4843759"/>
              <a:ext cx="882490" cy="693640"/>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6" name="Freeform 1450"/>
            <p:cNvSpPr>
              <a:spLocks/>
            </p:cNvSpPr>
            <p:nvPr/>
          </p:nvSpPr>
          <p:spPr bwMode="auto">
            <a:xfrm>
              <a:off x="8279915" y="5579379"/>
              <a:ext cx="168945" cy="183904"/>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7" name="Freeform 1451"/>
            <p:cNvSpPr>
              <a:spLocks/>
            </p:cNvSpPr>
            <p:nvPr/>
          </p:nvSpPr>
          <p:spPr bwMode="auto">
            <a:xfrm>
              <a:off x="8415071" y="5409467"/>
              <a:ext cx="125218" cy="197897"/>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8" name="Freeform 1452"/>
            <p:cNvSpPr>
              <a:spLocks/>
            </p:cNvSpPr>
            <p:nvPr/>
          </p:nvSpPr>
          <p:spPr bwMode="auto">
            <a:xfrm>
              <a:off x="8224263" y="5059647"/>
              <a:ext cx="63603" cy="51973"/>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9" name="Freeform 1454"/>
            <p:cNvSpPr>
              <a:spLocks/>
            </p:cNvSpPr>
            <p:nvPr/>
          </p:nvSpPr>
          <p:spPr bwMode="auto">
            <a:xfrm>
              <a:off x="5522202" y="3550742"/>
              <a:ext cx="147034" cy="71945"/>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0" name="Freeform 1455"/>
            <p:cNvSpPr>
              <a:spLocks/>
            </p:cNvSpPr>
            <p:nvPr/>
          </p:nvSpPr>
          <p:spPr bwMode="auto">
            <a:xfrm>
              <a:off x="5667249" y="3149047"/>
              <a:ext cx="886180" cy="475639"/>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1" name="Freeform 1456"/>
            <p:cNvSpPr>
              <a:spLocks/>
            </p:cNvSpPr>
            <p:nvPr/>
          </p:nvSpPr>
          <p:spPr bwMode="auto">
            <a:xfrm>
              <a:off x="5873891" y="3488789"/>
              <a:ext cx="373546" cy="243815"/>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2" name="Freeform 1457"/>
            <p:cNvSpPr>
              <a:spLocks/>
            </p:cNvSpPr>
            <p:nvPr/>
          </p:nvSpPr>
          <p:spPr bwMode="auto">
            <a:xfrm>
              <a:off x="5796401" y="3572725"/>
              <a:ext cx="309965" cy="215836"/>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3" name="Freeform 1458"/>
            <p:cNvSpPr>
              <a:spLocks/>
            </p:cNvSpPr>
            <p:nvPr/>
          </p:nvSpPr>
          <p:spPr bwMode="auto">
            <a:xfrm>
              <a:off x="6162000" y="3560735"/>
              <a:ext cx="240421" cy="115912"/>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4" name="Freeform 1459"/>
            <p:cNvSpPr>
              <a:spLocks/>
            </p:cNvSpPr>
            <p:nvPr/>
          </p:nvSpPr>
          <p:spPr bwMode="auto">
            <a:xfrm>
              <a:off x="6122261" y="3624686"/>
              <a:ext cx="164917" cy="123907"/>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5" name="Freeform 1460"/>
            <p:cNvSpPr>
              <a:spLocks/>
            </p:cNvSpPr>
            <p:nvPr/>
          </p:nvSpPr>
          <p:spPr bwMode="auto">
            <a:xfrm>
              <a:off x="5599692" y="3616692"/>
              <a:ext cx="67557" cy="69947"/>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6" name="Freeform 1462"/>
            <p:cNvSpPr>
              <a:spLocks/>
            </p:cNvSpPr>
            <p:nvPr/>
          </p:nvSpPr>
          <p:spPr bwMode="auto">
            <a:xfrm>
              <a:off x="5629497" y="3662657"/>
              <a:ext cx="25830" cy="2398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7" name="Freeform 1463"/>
            <p:cNvSpPr>
              <a:spLocks/>
            </p:cNvSpPr>
            <p:nvPr/>
          </p:nvSpPr>
          <p:spPr bwMode="auto">
            <a:xfrm>
              <a:off x="5633470" y="3600704"/>
              <a:ext cx="117230" cy="97925"/>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8" name="Freeform 1465"/>
            <p:cNvSpPr>
              <a:spLocks/>
            </p:cNvSpPr>
            <p:nvPr/>
          </p:nvSpPr>
          <p:spPr bwMode="auto">
            <a:xfrm>
              <a:off x="6199752" y="3650666"/>
              <a:ext cx="5961" cy="7995"/>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9" name="Freeform 1466"/>
            <p:cNvSpPr>
              <a:spLocks/>
            </p:cNvSpPr>
            <p:nvPr/>
          </p:nvSpPr>
          <p:spPr bwMode="auto">
            <a:xfrm>
              <a:off x="6213660" y="3654664"/>
              <a:ext cx="5961" cy="3997"/>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0" name="Freeform 1467"/>
            <p:cNvSpPr>
              <a:spLocks/>
            </p:cNvSpPr>
            <p:nvPr/>
          </p:nvSpPr>
          <p:spPr bwMode="auto">
            <a:xfrm>
              <a:off x="6189817" y="3658661"/>
              <a:ext cx="3974" cy="3997"/>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1" name="Freeform 1468"/>
            <p:cNvSpPr>
              <a:spLocks/>
            </p:cNvSpPr>
            <p:nvPr/>
          </p:nvSpPr>
          <p:spPr bwMode="auto">
            <a:xfrm>
              <a:off x="5822232" y="4064353"/>
              <a:ext cx="5961" cy="3997"/>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52" name="Group 1469"/>
            <p:cNvGrpSpPr>
              <a:grpSpLocks/>
            </p:cNvGrpSpPr>
            <p:nvPr/>
          </p:nvGrpSpPr>
          <p:grpSpPr bwMode="auto">
            <a:xfrm>
              <a:off x="5786466" y="4014391"/>
              <a:ext cx="168891" cy="227827"/>
              <a:chOff x="3328" y="2264"/>
              <a:chExt cx="85" cy="114"/>
            </a:xfrm>
            <a:solidFill>
              <a:schemeClr val="bg1">
                <a:lumMod val="75000"/>
              </a:schemeClr>
            </a:solidFill>
          </p:grpSpPr>
          <p:sp>
            <p:nvSpPr>
              <p:cNvPr id="1013" name="Freeform 1470"/>
              <p:cNvSpPr>
                <a:spLocks/>
              </p:cNvSpPr>
              <p:nvPr/>
            </p:nvSpPr>
            <p:spPr bwMode="auto">
              <a:xfrm>
                <a:off x="3372" y="2264"/>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4" name="Freeform 1471"/>
              <p:cNvSpPr>
                <a:spLocks/>
              </p:cNvSpPr>
              <p:nvPr/>
            </p:nvSpPr>
            <p:spPr bwMode="auto">
              <a:xfrm>
                <a:off x="3328" y="2282"/>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53" name="Freeform 1472"/>
            <p:cNvSpPr>
              <a:spLocks/>
            </p:cNvSpPr>
            <p:nvPr/>
          </p:nvSpPr>
          <p:spPr bwMode="auto">
            <a:xfrm>
              <a:off x="5414906" y="3800553"/>
              <a:ext cx="37752" cy="45965"/>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4" name="Freeform 1473"/>
            <p:cNvSpPr>
              <a:spLocks/>
            </p:cNvSpPr>
            <p:nvPr/>
          </p:nvSpPr>
          <p:spPr bwMode="auto">
            <a:xfrm>
              <a:off x="5752688" y="4016389"/>
              <a:ext cx="1987" cy="5995"/>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55" name="Group 1474"/>
            <p:cNvGrpSpPr>
              <a:grpSpLocks/>
            </p:cNvGrpSpPr>
            <p:nvPr/>
          </p:nvGrpSpPr>
          <p:grpSpPr bwMode="auto">
            <a:xfrm>
              <a:off x="5615588" y="3660659"/>
              <a:ext cx="417260" cy="383709"/>
              <a:chOff x="3242" y="2087"/>
              <a:chExt cx="210" cy="192"/>
            </a:xfrm>
            <a:solidFill>
              <a:schemeClr val="bg1">
                <a:lumMod val="75000"/>
              </a:schemeClr>
            </a:solidFill>
          </p:grpSpPr>
          <p:sp>
            <p:nvSpPr>
              <p:cNvPr id="1011" name="Freeform 1475"/>
              <p:cNvSpPr>
                <a:spLocks/>
              </p:cNvSpPr>
              <p:nvPr/>
            </p:nvSpPr>
            <p:spPr bwMode="auto">
              <a:xfrm>
                <a:off x="3364" y="2257"/>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2" name="Freeform 1476"/>
              <p:cNvSpPr>
                <a:spLocks/>
              </p:cNvSpPr>
              <p:nvPr/>
            </p:nvSpPr>
            <p:spPr bwMode="auto">
              <a:xfrm>
                <a:off x="3242" y="2087"/>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556" name="Group 1477"/>
            <p:cNvGrpSpPr>
              <a:grpSpLocks/>
            </p:cNvGrpSpPr>
            <p:nvPr/>
          </p:nvGrpSpPr>
          <p:grpSpPr bwMode="auto">
            <a:xfrm>
              <a:off x="5395037" y="3838524"/>
              <a:ext cx="33778" cy="101922"/>
              <a:chOff x="3131" y="2176"/>
              <a:chExt cx="17" cy="51"/>
            </a:xfrm>
            <a:solidFill>
              <a:schemeClr val="bg1">
                <a:lumMod val="75000"/>
              </a:schemeClr>
            </a:solidFill>
          </p:grpSpPr>
          <p:sp>
            <p:nvSpPr>
              <p:cNvPr id="1008" name="Freeform 1478"/>
              <p:cNvSpPr>
                <a:spLocks/>
              </p:cNvSpPr>
              <p:nvPr/>
            </p:nvSpPr>
            <p:spPr bwMode="auto">
              <a:xfrm>
                <a:off x="3139" y="2186"/>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09" name="Freeform 1479"/>
              <p:cNvSpPr>
                <a:spLocks/>
              </p:cNvSpPr>
              <p:nvPr/>
            </p:nvSpPr>
            <p:spPr bwMode="auto">
              <a:xfrm>
                <a:off x="3131" y="2199"/>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0" name="Freeform 1480"/>
              <p:cNvSpPr>
                <a:spLocks/>
              </p:cNvSpPr>
              <p:nvPr/>
            </p:nvSpPr>
            <p:spPr bwMode="auto">
              <a:xfrm>
                <a:off x="3132" y="2176"/>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57" name="Freeform 1481"/>
            <p:cNvSpPr>
              <a:spLocks/>
            </p:cNvSpPr>
            <p:nvPr/>
          </p:nvSpPr>
          <p:spPr bwMode="auto">
            <a:xfrm>
              <a:off x="5498359" y="3726608"/>
              <a:ext cx="212604" cy="217834"/>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8" name="Freeform 1482"/>
            <p:cNvSpPr>
              <a:spLocks/>
            </p:cNvSpPr>
            <p:nvPr/>
          </p:nvSpPr>
          <p:spPr bwMode="auto">
            <a:xfrm>
              <a:off x="5758649" y="4018387"/>
              <a:ext cx="17883" cy="3997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9" name="Freeform 1483"/>
            <p:cNvSpPr>
              <a:spLocks/>
            </p:cNvSpPr>
            <p:nvPr/>
          </p:nvSpPr>
          <p:spPr bwMode="auto">
            <a:xfrm>
              <a:off x="5669236" y="3922460"/>
              <a:ext cx="37752" cy="37971"/>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0" name="Freeform 1484"/>
            <p:cNvSpPr>
              <a:spLocks/>
            </p:cNvSpPr>
            <p:nvPr/>
          </p:nvSpPr>
          <p:spPr bwMode="auto">
            <a:xfrm>
              <a:off x="5764610" y="4020386"/>
              <a:ext cx="115243" cy="85935"/>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1" name="Freeform 1485"/>
            <p:cNvSpPr>
              <a:spLocks/>
            </p:cNvSpPr>
            <p:nvPr/>
          </p:nvSpPr>
          <p:spPr bwMode="auto">
            <a:xfrm>
              <a:off x="5581810" y="4188259"/>
              <a:ext cx="226512" cy="143891"/>
            </a:xfrm>
            <a:custGeom>
              <a:avLst/>
              <a:gdLst/>
              <a:ahLst/>
              <a:cxnLst>
                <a:cxn ang="0">
                  <a:pos x="551" y="145"/>
                </a:cxn>
                <a:cxn ang="0">
                  <a:pos x="533" y="162"/>
                </a:cxn>
                <a:cxn ang="0">
                  <a:pos x="528" y="183"/>
                </a:cxn>
                <a:cxn ang="0">
                  <a:pos x="529" y="193"/>
                </a:cxn>
                <a:cxn ang="0">
                  <a:pos x="523" y="198"/>
                </a:cxn>
                <a:cxn ang="0">
                  <a:pos x="510" y="199"/>
                </a:cxn>
                <a:cxn ang="0">
                  <a:pos x="486" y="212"/>
                </a:cxn>
                <a:cxn ang="0">
                  <a:pos x="461" y="220"/>
                </a:cxn>
                <a:cxn ang="0">
                  <a:pos x="437" y="228"/>
                </a:cxn>
                <a:cxn ang="0">
                  <a:pos x="408" y="239"/>
                </a:cxn>
                <a:cxn ang="0">
                  <a:pos x="381" y="243"/>
                </a:cxn>
                <a:cxn ang="0">
                  <a:pos x="354" y="256"/>
                </a:cxn>
                <a:cxn ang="0">
                  <a:pos x="346" y="271"/>
                </a:cxn>
                <a:cxn ang="0">
                  <a:pos x="330" y="285"/>
                </a:cxn>
                <a:cxn ang="0">
                  <a:pos x="324" y="288"/>
                </a:cxn>
                <a:cxn ang="0">
                  <a:pos x="285" y="290"/>
                </a:cxn>
                <a:cxn ang="0">
                  <a:pos x="269" y="303"/>
                </a:cxn>
                <a:cxn ang="0">
                  <a:pos x="247" y="314"/>
                </a:cxn>
                <a:cxn ang="0">
                  <a:pos x="217" y="320"/>
                </a:cxn>
                <a:cxn ang="0">
                  <a:pos x="194" y="319"/>
                </a:cxn>
                <a:cxn ang="0">
                  <a:pos x="173" y="320"/>
                </a:cxn>
                <a:cxn ang="0">
                  <a:pos x="156" y="339"/>
                </a:cxn>
                <a:cxn ang="0">
                  <a:pos x="124" y="356"/>
                </a:cxn>
                <a:cxn ang="0">
                  <a:pos x="86" y="361"/>
                </a:cxn>
                <a:cxn ang="0">
                  <a:pos x="70" y="362"/>
                </a:cxn>
                <a:cxn ang="0">
                  <a:pos x="48" y="357"/>
                </a:cxn>
                <a:cxn ang="0">
                  <a:pos x="32" y="330"/>
                </a:cxn>
                <a:cxn ang="0">
                  <a:pos x="31" y="295"/>
                </a:cxn>
                <a:cxn ang="0">
                  <a:pos x="23" y="282"/>
                </a:cxn>
                <a:cxn ang="0">
                  <a:pos x="17" y="247"/>
                </a:cxn>
                <a:cxn ang="0">
                  <a:pos x="11" y="234"/>
                </a:cxn>
                <a:cxn ang="0">
                  <a:pos x="2" y="215"/>
                </a:cxn>
                <a:cxn ang="0">
                  <a:pos x="2" y="210"/>
                </a:cxn>
                <a:cxn ang="0">
                  <a:pos x="5" y="206"/>
                </a:cxn>
                <a:cxn ang="0">
                  <a:pos x="2" y="193"/>
                </a:cxn>
                <a:cxn ang="0">
                  <a:pos x="7" y="183"/>
                </a:cxn>
                <a:cxn ang="0">
                  <a:pos x="7" y="162"/>
                </a:cxn>
                <a:cxn ang="0">
                  <a:pos x="4" y="148"/>
                </a:cxn>
                <a:cxn ang="0">
                  <a:pos x="20" y="139"/>
                </a:cxn>
                <a:cxn ang="0">
                  <a:pos x="27" y="126"/>
                </a:cxn>
                <a:cxn ang="0">
                  <a:pos x="39" y="116"/>
                </a:cxn>
                <a:cxn ang="0">
                  <a:pos x="66" y="110"/>
                </a:cxn>
                <a:cxn ang="0">
                  <a:pos x="201" y="132"/>
                </a:cxn>
                <a:cxn ang="0">
                  <a:pos x="339" y="40"/>
                </a:cxn>
                <a:cxn ang="0">
                  <a:pos x="570" y="137"/>
                </a:cxn>
              </a:cxnLst>
              <a:rect l="0" t="0" r="r" b="b"/>
              <a:pathLst>
                <a:path w="570" h="362">
                  <a:moveTo>
                    <a:pt x="570" y="137"/>
                  </a:moveTo>
                  <a:lnTo>
                    <a:pt x="551" y="145"/>
                  </a:lnTo>
                  <a:lnTo>
                    <a:pt x="540" y="153"/>
                  </a:lnTo>
                  <a:lnTo>
                    <a:pt x="533" y="162"/>
                  </a:lnTo>
                  <a:lnTo>
                    <a:pt x="526" y="177"/>
                  </a:lnTo>
                  <a:lnTo>
                    <a:pt x="528" y="183"/>
                  </a:lnTo>
                  <a:lnTo>
                    <a:pt x="529" y="191"/>
                  </a:lnTo>
                  <a:lnTo>
                    <a:pt x="529" y="193"/>
                  </a:lnTo>
                  <a:lnTo>
                    <a:pt x="526" y="195"/>
                  </a:lnTo>
                  <a:lnTo>
                    <a:pt x="523" y="198"/>
                  </a:lnTo>
                  <a:lnTo>
                    <a:pt x="516" y="196"/>
                  </a:lnTo>
                  <a:lnTo>
                    <a:pt x="510" y="199"/>
                  </a:lnTo>
                  <a:lnTo>
                    <a:pt x="496" y="202"/>
                  </a:lnTo>
                  <a:lnTo>
                    <a:pt x="486" y="212"/>
                  </a:lnTo>
                  <a:lnTo>
                    <a:pt x="475" y="217"/>
                  </a:lnTo>
                  <a:lnTo>
                    <a:pt x="461" y="220"/>
                  </a:lnTo>
                  <a:lnTo>
                    <a:pt x="451" y="221"/>
                  </a:lnTo>
                  <a:lnTo>
                    <a:pt x="437" y="228"/>
                  </a:lnTo>
                  <a:lnTo>
                    <a:pt x="427" y="231"/>
                  </a:lnTo>
                  <a:lnTo>
                    <a:pt x="408" y="239"/>
                  </a:lnTo>
                  <a:lnTo>
                    <a:pt x="398" y="241"/>
                  </a:lnTo>
                  <a:lnTo>
                    <a:pt x="381" y="243"/>
                  </a:lnTo>
                  <a:lnTo>
                    <a:pt x="364" y="252"/>
                  </a:lnTo>
                  <a:lnTo>
                    <a:pt x="354" y="256"/>
                  </a:lnTo>
                  <a:lnTo>
                    <a:pt x="351" y="264"/>
                  </a:lnTo>
                  <a:lnTo>
                    <a:pt x="346" y="271"/>
                  </a:lnTo>
                  <a:lnTo>
                    <a:pt x="335" y="281"/>
                  </a:lnTo>
                  <a:lnTo>
                    <a:pt x="330" y="285"/>
                  </a:lnTo>
                  <a:lnTo>
                    <a:pt x="328" y="287"/>
                  </a:lnTo>
                  <a:lnTo>
                    <a:pt x="324" y="288"/>
                  </a:lnTo>
                  <a:lnTo>
                    <a:pt x="298" y="287"/>
                  </a:lnTo>
                  <a:lnTo>
                    <a:pt x="285" y="290"/>
                  </a:lnTo>
                  <a:lnTo>
                    <a:pt x="274" y="297"/>
                  </a:lnTo>
                  <a:lnTo>
                    <a:pt x="269" y="303"/>
                  </a:lnTo>
                  <a:lnTo>
                    <a:pt x="253" y="313"/>
                  </a:lnTo>
                  <a:lnTo>
                    <a:pt x="247" y="314"/>
                  </a:lnTo>
                  <a:lnTo>
                    <a:pt x="227" y="319"/>
                  </a:lnTo>
                  <a:lnTo>
                    <a:pt x="217" y="320"/>
                  </a:lnTo>
                  <a:lnTo>
                    <a:pt x="206" y="318"/>
                  </a:lnTo>
                  <a:lnTo>
                    <a:pt x="194" y="319"/>
                  </a:lnTo>
                  <a:lnTo>
                    <a:pt x="185" y="319"/>
                  </a:lnTo>
                  <a:lnTo>
                    <a:pt x="173" y="320"/>
                  </a:lnTo>
                  <a:lnTo>
                    <a:pt x="163" y="327"/>
                  </a:lnTo>
                  <a:lnTo>
                    <a:pt x="156" y="339"/>
                  </a:lnTo>
                  <a:lnTo>
                    <a:pt x="134" y="350"/>
                  </a:lnTo>
                  <a:lnTo>
                    <a:pt x="124" y="356"/>
                  </a:lnTo>
                  <a:lnTo>
                    <a:pt x="101" y="356"/>
                  </a:lnTo>
                  <a:lnTo>
                    <a:pt x="86" y="361"/>
                  </a:lnTo>
                  <a:lnTo>
                    <a:pt x="77" y="360"/>
                  </a:lnTo>
                  <a:lnTo>
                    <a:pt x="70" y="362"/>
                  </a:lnTo>
                  <a:lnTo>
                    <a:pt x="60" y="357"/>
                  </a:lnTo>
                  <a:lnTo>
                    <a:pt x="48" y="357"/>
                  </a:lnTo>
                  <a:lnTo>
                    <a:pt x="43" y="344"/>
                  </a:lnTo>
                  <a:lnTo>
                    <a:pt x="32" y="330"/>
                  </a:lnTo>
                  <a:lnTo>
                    <a:pt x="32" y="304"/>
                  </a:lnTo>
                  <a:lnTo>
                    <a:pt x="31" y="295"/>
                  </a:lnTo>
                  <a:lnTo>
                    <a:pt x="26" y="290"/>
                  </a:lnTo>
                  <a:lnTo>
                    <a:pt x="23" y="282"/>
                  </a:lnTo>
                  <a:lnTo>
                    <a:pt x="20" y="266"/>
                  </a:lnTo>
                  <a:lnTo>
                    <a:pt x="17" y="247"/>
                  </a:lnTo>
                  <a:lnTo>
                    <a:pt x="15" y="239"/>
                  </a:lnTo>
                  <a:lnTo>
                    <a:pt x="11" y="234"/>
                  </a:lnTo>
                  <a:lnTo>
                    <a:pt x="11" y="226"/>
                  </a:lnTo>
                  <a:lnTo>
                    <a:pt x="2" y="215"/>
                  </a:lnTo>
                  <a:lnTo>
                    <a:pt x="0" y="211"/>
                  </a:lnTo>
                  <a:lnTo>
                    <a:pt x="2" y="210"/>
                  </a:lnTo>
                  <a:lnTo>
                    <a:pt x="5" y="210"/>
                  </a:lnTo>
                  <a:lnTo>
                    <a:pt x="5" y="206"/>
                  </a:lnTo>
                  <a:lnTo>
                    <a:pt x="2" y="202"/>
                  </a:lnTo>
                  <a:lnTo>
                    <a:pt x="2" y="193"/>
                  </a:lnTo>
                  <a:lnTo>
                    <a:pt x="1" y="188"/>
                  </a:lnTo>
                  <a:lnTo>
                    <a:pt x="7" y="183"/>
                  </a:lnTo>
                  <a:lnTo>
                    <a:pt x="9" y="178"/>
                  </a:lnTo>
                  <a:lnTo>
                    <a:pt x="7" y="162"/>
                  </a:lnTo>
                  <a:lnTo>
                    <a:pt x="5" y="151"/>
                  </a:lnTo>
                  <a:lnTo>
                    <a:pt x="4" y="148"/>
                  </a:lnTo>
                  <a:lnTo>
                    <a:pt x="15" y="143"/>
                  </a:lnTo>
                  <a:lnTo>
                    <a:pt x="20" y="139"/>
                  </a:lnTo>
                  <a:lnTo>
                    <a:pt x="21" y="131"/>
                  </a:lnTo>
                  <a:lnTo>
                    <a:pt x="27" y="126"/>
                  </a:lnTo>
                  <a:lnTo>
                    <a:pt x="36" y="123"/>
                  </a:lnTo>
                  <a:lnTo>
                    <a:pt x="39" y="116"/>
                  </a:lnTo>
                  <a:lnTo>
                    <a:pt x="44" y="112"/>
                  </a:lnTo>
                  <a:lnTo>
                    <a:pt x="66" y="110"/>
                  </a:lnTo>
                  <a:lnTo>
                    <a:pt x="101" y="98"/>
                  </a:lnTo>
                  <a:lnTo>
                    <a:pt x="201" y="132"/>
                  </a:lnTo>
                  <a:lnTo>
                    <a:pt x="201" y="194"/>
                  </a:lnTo>
                  <a:lnTo>
                    <a:pt x="339" y="40"/>
                  </a:lnTo>
                  <a:lnTo>
                    <a:pt x="513" y="0"/>
                  </a:lnTo>
                  <a:lnTo>
                    <a:pt x="570" y="1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2" name="Freeform 1488"/>
            <p:cNvSpPr>
              <a:spLocks/>
            </p:cNvSpPr>
            <p:nvPr/>
          </p:nvSpPr>
          <p:spPr bwMode="auto">
            <a:xfrm>
              <a:off x="5222139" y="3596730"/>
              <a:ext cx="65569" cy="5595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3" name="Freeform 1489"/>
            <p:cNvSpPr>
              <a:spLocks/>
            </p:cNvSpPr>
            <p:nvPr/>
          </p:nvSpPr>
          <p:spPr bwMode="auto">
            <a:xfrm>
              <a:off x="5412919" y="3836525"/>
              <a:ext cx="93387" cy="107918"/>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4" name="Freeform 1490"/>
            <p:cNvSpPr>
              <a:spLocks/>
            </p:cNvSpPr>
            <p:nvPr/>
          </p:nvSpPr>
          <p:spPr bwMode="auto">
            <a:xfrm>
              <a:off x="5426828" y="3730606"/>
              <a:ext cx="152995" cy="133899"/>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5" name="Freeform 1491"/>
            <p:cNvSpPr>
              <a:spLocks/>
            </p:cNvSpPr>
            <p:nvPr/>
          </p:nvSpPr>
          <p:spPr bwMode="auto">
            <a:xfrm>
              <a:off x="5406958" y="3866502"/>
              <a:ext cx="458986" cy="399697"/>
            </a:xfrm>
            <a:custGeom>
              <a:avLst/>
              <a:gdLst/>
              <a:ahLst/>
              <a:cxnLst>
                <a:cxn ang="0">
                  <a:pos x="684" y="202"/>
                </a:cxn>
                <a:cxn ang="0">
                  <a:pos x="721" y="231"/>
                </a:cxn>
                <a:cxn ang="0">
                  <a:pos x="762" y="247"/>
                </a:cxn>
                <a:cxn ang="0">
                  <a:pos x="776" y="275"/>
                </a:cxn>
                <a:cxn ang="0">
                  <a:pos x="805" y="299"/>
                </a:cxn>
                <a:cxn ang="0">
                  <a:pos x="805" y="308"/>
                </a:cxn>
                <a:cxn ang="0">
                  <a:pos x="820" y="324"/>
                </a:cxn>
                <a:cxn ang="0">
                  <a:pos x="846" y="345"/>
                </a:cxn>
                <a:cxn ang="0">
                  <a:pos x="854" y="368"/>
                </a:cxn>
                <a:cxn ang="0">
                  <a:pos x="850" y="387"/>
                </a:cxn>
                <a:cxn ang="0">
                  <a:pos x="872" y="425"/>
                </a:cxn>
                <a:cxn ang="0">
                  <a:pos x="881" y="455"/>
                </a:cxn>
                <a:cxn ang="0">
                  <a:pos x="888" y="463"/>
                </a:cxn>
                <a:cxn ang="0">
                  <a:pos x="905" y="491"/>
                </a:cxn>
                <a:cxn ang="0">
                  <a:pos x="1119" y="599"/>
                </a:cxn>
                <a:cxn ang="0">
                  <a:pos x="1119" y="744"/>
                </a:cxn>
                <a:cxn ang="0">
                  <a:pos x="642" y="996"/>
                </a:cxn>
                <a:cxn ang="0">
                  <a:pos x="507" y="912"/>
                </a:cxn>
                <a:cxn ang="0">
                  <a:pos x="477" y="925"/>
                </a:cxn>
                <a:cxn ang="0">
                  <a:pos x="461" y="941"/>
                </a:cxn>
                <a:cxn ang="0">
                  <a:pos x="442" y="944"/>
                </a:cxn>
                <a:cxn ang="0">
                  <a:pos x="426" y="911"/>
                </a:cxn>
                <a:cxn ang="0">
                  <a:pos x="399" y="869"/>
                </a:cxn>
                <a:cxn ang="0">
                  <a:pos x="376" y="844"/>
                </a:cxn>
                <a:cxn ang="0">
                  <a:pos x="359" y="815"/>
                </a:cxn>
                <a:cxn ang="0">
                  <a:pos x="351" y="783"/>
                </a:cxn>
                <a:cxn ang="0">
                  <a:pos x="335" y="760"/>
                </a:cxn>
                <a:cxn ang="0">
                  <a:pos x="317" y="739"/>
                </a:cxn>
                <a:cxn ang="0">
                  <a:pos x="291" y="726"/>
                </a:cxn>
                <a:cxn ang="0">
                  <a:pos x="264" y="708"/>
                </a:cxn>
                <a:cxn ang="0">
                  <a:pos x="251" y="680"/>
                </a:cxn>
                <a:cxn ang="0">
                  <a:pos x="239" y="627"/>
                </a:cxn>
                <a:cxn ang="0">
                  <a:pos x="246" y="604"/>
                </a:cxn>
                <a:cxn ang="0">
                  <a:pos x="233" y="578"/>
                </a:cxn>
                <a:cxn ang="0">
                  <a:pos x="225" y="554"/>
                </a:cxn>
                <a:cxn ang="0">
                  <a:pos x="193" y="506"/>
                </a:cxn>
                <a:cxn ang="0">
                  <a:pos x="178" y="496"/>
                </a:cxn>
                <a:cxn ang="0">
                  <a:pos x="162" y="489"/>
                </a:cxn>
                <a:cxn ang="0">
                  <a:pos x="153" y="481"/>
                </a:cxn>
                <a:cxn ang="0">
                  <a:pos x="141" y="455"/>
                </a:cxn>
                <a:cxn ang="0">
                  <a:pos x="128" y="416"/>
                </a:cxn>
                <a:cxn ang="0">
                  <a:pos x="109" y="395"/>
                </a:cxn>
                <a:cxn ang="0">
                  <a:pos x="87" y="350"/>
                </a:cxn>
                <a:cxn ang="0">
                  <a:pos x="61" y="319"/>
                </a:cxn>
                <a:cxn ang="0">
                  <a:pos x="45" y="288"/>
                </a:cxn>
                <a:cxn ang="0">
                  <a:pos x="17" y="259"/>
                </a:cxn>
                <a:cxn ang="0">
                  <a:pos x="2" y="258"/>
                </a:cxn>
                <a:cxn ang="0">
                  <a:pos x="12" y="211"/>
                </a:cxn>
                <a:cxn ang="0">
                  <a:pos x="17" y="178"/>
                </a:cxn>
                <a:cxn ang="0">
                  <a:pos x="98" y="177"/>
                </a:cxn>
                <a:cxn ang="0">
                  <a:pos x="156" y="142"/>
                </a:cxn>
                <a:cxn ang="0">
                  <a:pos x="185" y="104"/>
                </a:cxn>
                <a:cxn ang="0">
                  <a:pos x="125" y="43"/>
                </a:cxn>
                <a:cxn ang="0">
                  <a:pos x="248" y="0"/>
                </a:cxn>
                <a:cxn ang="0">
                  <a:pos x="450" y="91"/>
                </a:cxn>
                <a:cxn ang="0">
                  <a:pos x="493" y="116"/>
                </a:cxn>
                <a:cxn ang="0">
                  <a:pos x="497" y="162"/>
                </a:cxn>
              </a:cxnLst>
              <a:rect l="0" t="0" r="r" b="b"/>
              <a:pathLst>
                <a:path w="1157" h="996">
                  <a:moveTo>
                    <a:pt x="658" y="195"/>
                  </a:moveTo>
                  <a:lnTo>
                    <a:pt x="662" y="197"/>
                  </a:lnTo>
                  <a:lnTo>
                    <a:pt x="684" y="202"/>
                  </a:lnTo>
                  <a:lnTo>
                    <a:pt x="704" y="209"/>
                  </a:lnTo>
                  <a:lnTo>
                    <a:pt x="711" y="216"/>
                  </a:lnTo>
                  <a:lnTo>
                    <a:pt x="721" y="231"/>
                  </a:lnTo>
                  <a:lnTo>
                    <a:pt x="754" y="231"/>
                  </a:lnTo>
                  <a:lnTo>
                    <a:pt x="758" y="237"/>
                  </a:lnTo>
                  <a:lnTo>
                    <a:pt x="762" y="247"/>
                  </a:lnTo>
                  <a:lnTo>
                    <a:pt x="765" y="251"/>
                  </a:lnTo>
                  <a:lnTo>
                    <a:pt x="766" y="259"/>
                  </a:lnTo>
                  <a:lnTo>
                    <a:pt x="776" y="275"/>
                  </a:lnTo>
                  <a:lnTo>
                    <a:pt x="785" y="277"/>
                  </a:lnTo>
                  <a:lnTo>
                    <a:pt x="791" y="290"/>
                  </a:lnTo>
                  <a:lnTo>
                    <a:pt x="805" y="299"/>
                  </a:lnTo>
                  <a:lnTo>
                    <a:pt x="805" y="301"/>
                  </a:lnTo>
                  <a:lnTo>
                    <a:pt x="802" y="304"/>
                  </a:lnTo>
                  <a:lnTo>
                    <a:pt x="805" y="308"/>
                  </a:lnTo>
                  <a:lnTo>
                    <a:pt x="807" y="318"/>
                  </a:lnTo>
                  <a:lnTo>
                    <a:pt x="817" y="320"/>
                  </a:lnTo>
                  <a:lnTo>
                    <a:pt x="820" y="324"/>
                  </a:lnTo>
                  <a:lnTo>
                    <a:pt x="836" y="335"/>
                  </a:lnTo>
                  <a:lnTo>
                    <a:pt x="843" y="339"/>
                  </a:lnTo>
                  <a:lnTo>
                    <a:pt x="846" y="345"/>
                  </a:lnTo>
                  <a:lnTo>
                    <a:pt x="848" y="347"/>
                  </a:lnTo>
                  <a:lnTo>
                    <a:pt x="845" y="357"/>
                  </a:lnTo>
                  <a:lnTo>
                    <a:pt x="854" y="368"/>
                  </a:lnTo>
                  <a:lnTo>
                    <a:pt x="855" y="376"/>
                  </a:lnTo>
                  <a:lnTo>
                    <a:pt x="855" y="380"/>
                  </a:lnTo>
                  <a:lnTo>
                    <a:pt x="850" y="387"/>
                  </a:lnTo>
                  <a:lnTo>
                    <a:pt x="850" y="399"/>
                  </a:lnTo>
                  <a:lnTo>
                    <a:pt x="857" y="409"/>
                  </a:lnTo>
                  <a:lnTo>
                    <a:pt x="872" y="425"/>
                  </a:lnTo>
                  <a:lnTo>
                    <a:pt x="875" y="443"/>
                  </a:lnTo>
                  <a:lnTo>
                    <a:pt x="881" y="450"/>
                  </a:lnTo>
                  <a:lnTo>
                    <a:pt x="881" y="455"/>
                  </a:lnTo>
                  <a:lnTo>
                    <a:pt x="883" y="458"/>
                  </a:lnTo>
                  <a:lnTo>
                    <a:pt x="886" y="463"/>
                  </a:lnTo>
                  <a:lnTo>
                    <a:pt x="888" y="463"/>
                  </a:lnTo>
                  <a:lnTo>
                    <a:pt x="895" y="475"/>
                  </a:lnTo>
                  <a:lnTo>
                    <a:pt x="902" y="476"/>
                  </a:lnTo>
                  <a:lnTo>
                    <a:pt x="905" y="491"/>
                  </a:lnTo>
                  <a:lnTo>
                    <a:pt x="938" y="520"/>
                  </a:lnTo>
                  <a:lnTo>
                    <a:pt x="954" y="568"/>
                  </a:lnTo>
                  <a:lnTo>
                    <a:pt x="1119" y="599"/>
                  </a:lnTo>
                  <a:lnTo>
                    <a:pt x="1130" y="587"/>
                  </a:lnTo>
                  <a:lnTo>
                    <a:pt x="1157" y="627"/>
                  </a:lnTo>
                  <a:lnTo>
                    <a:pt x="1119" y="744"/>
                  </a:lnTo>
                  <a:lnTo>
                    <a:pt x="954" y="802"/>
                  </a:lnTo>
                  <a:lnTo>
                    <a:pt x="780" y="842"/>
                  </a:lnTo>
                  <a:lnTo>
                    <a:pt x="642" y="996"/>
                  </a:lnTo>
                  <a:lnTo>
                    <a:pt x="642" y="934"/>
                  </a:lnTo>
                  <a:lnTo>
                    <a:pt x="542" y="900"/>
                  </a:lnTo>
                  <a:lnTo>
                    <a:pt x="507" y="912"/>
                  </a:lnTo>
                  <a:lnTo>
                    <a:pt x="485" y="914"/>
                  </a:lnTo>
                  <a:lnTo>
                    <a:pt x="480" y="918"/>
                  </a:lnTo>
                  <a:lnTo>
                    <a:pt x="477" y="925"/>
                  </a:lnTo>
                  <a:lnTo>
                    <a:pt x="468" y="928"/>
                  </a:lnTo>
                  <a:lnTo>
                    <a:pt x="462" y="933"/>
                  </a:lnTo>
                  <a:lnTo>
                    <a:pt x="461" y="941"/>
                  </a:lnTo>
                  <a:lnTo>
                    <a:pt x="456" y="945"/>
                  </a:lnTo>
                  <a:lnTo>
                    <a:pt x="445" y="950"/>
                  </a:lnTo>
                  <a:lnTo>
                    <a:pt x="442" y="944"/>
                  </a:lnTo>
                  <a:lnTo>
                    <a:pt x="442" y="934"/>
                  </a:lnTo>
                  <a:lnTo>
                    <a:pt x="430" y="912"/>
                  </a:lnTo>
                  <a:lnTo>
                    <a:pt x="426" y="911"/>
                  </a:lnTo>
                  <a:lnTo>
                    <a:pt x="422" y="905"/>
                  </a:lnTo>
                  <a:lnTo>
                    <a:pt x="418" y="887"/>
                  </a:lnTo>
                  <a:lnTo>
                    <a:pt x="399" y="869"/>
                  </a:lnTo>
                  <a:lnTo>
                    <a:pt x="392" y="866"/>
                  </a:lnTo>
                  <a:lnTo>
                    <a:pt x="387" y="860"/>
                  </a:lnTo>
                  <a:lnTo>
                    <a:pt x="376" y="844"/>
                  </a:lnTo>
                  <a:lnTo>
                    <a:pt x="365" y="821"/>
                  </a:lnTo>
                  <a:lnTo>
                    <a:pt x="360" y="819"/>
                  </a:lnTo>
                  <a:lnTo>
                    <a:pt x="359" y="815"/>
                  </a:lnTo>
                  <a:lnTo>
                    <a:pt x="355" y="804"/>
                  </a:lnTo>
                  <a:lnTo>
                    <a:pt x="355" y="793"/>
                  </a:lnTo>
                  <a:lnTo>
                    <a:pt x="351" y="783"/>
                  </a:lnTo>
                  <a:lnTo>
                    <a:pt x="345" y="774"/>
                  </a:lnTo>
                  <a:lnTo>
                    <a:pt x="338" y="766"/>
                  </a:lnTo>
                  <a:lnTo>
                    <a:pt x="335" y="760"/>
                  </a:lnTo>
                  <a:lnTo>
                    <a:pt x="330" y="756"/>
                  </a:lnTo>
                  <a:lnTo>
                    <a:pt x="322" y="744"/>
                  </a:lnTo>
                  <a:lnTo>
                    <a:pt x="317" y="739"/>
                  </a:lnTo>
                  <a:lnTo>
                    <a:pt x="302" y="729"/>
                  </a:lnTo>
                  <a:lnTo>
                    <a:pt x="293" y="724"/>
                  </a:lnTo>
                  <a:lnTo>
                    <a:pt x="291" y="726"/>
                  </a:lnTo>
                  <a:lnTo>
                    <a:pt x="285" y="723"/>
                  </a:lnTo>
                  <a:lnTo>
                    <a:pt x="271" y="715"/>
                  </a:lnTo>
                  <a:lnTo>
                    <a:pt x="264" y="708"/>
                  </a:lnTo>
                  <a:lnTo>
                    <a:pt x="260" y="704"/>
                  </a:lnTo>
                  <a:lnTo>
                    <a:pt x="253" y="690"/>
                  </a:lnTo>
                  <a:lnTo>
                    <a:pt x="251" y="680"/>
                  </a:lnTo>
                  <a:lnTo>
                    <a:pt x="243" y="638"/>
                  </a:lnTo>
                  <a:lnTo>
                    <a:pt x="239" y="632"/>
                  </a:lnTo>
                  <a:lnTo>
                    <a:pt x="239" y="627"/>
                  </a:lnTo>
                  <a:lnTo>
                    <a:pt x="242" y="625"/>
                  </a:lnTo>
                  <a:lnTo>
                    <a:pt x="244" y="618"/>
                  </a:lnTo>
                  <a:lnTo>
                    <a:pt x="246" y="604"/>
                  </a:lnTo>
                  <a:lnTo>
                    <a:pt x="241" y="589"/>
                  </a:lnTo>
                  <a:lnTo>
                    <a:pt x="238" y="583"/>
                  </a:lnTo>
                  <a:lnTo>
                    <a:pt x="233" y="578"/>
                  </a:lnTo>
                  <a:lnTo>
                    <a:pt x="231" y="570"/>
                  </a:lnTo>
                  <a:lnTo>
                    <a:pt x="228" y="560"/>
                  </a:lnTo>
                  <a:lnTo>
                    <a:pt x="225" y="554"/>
                  </a:lnTo>
                  <a:lnTo>
                    <a:pt x="220" y="543"/>
                  </a:lnTo>
                  <a:lnTo>
                    <a:pt x="208" y="520"/>
                  </a:lnTo>
                  <a:lnTo>
                    <a:pt x="193" y="506"/>
                  </a:lnTo>
                  <a:lnTo>
                    <a:pt x="183" y="498"/>
                  </a:lnTo>
                  <a:lnTo>
                    <a:pt x="180" y="496"/>
                  </a:lnTo>
                  <a:lnTo>
                    <a:pt x="178" y="496"/>
                  </a:lnTo>
                  <a:lnTo>
                    <a:pt x="177" y="492"/>
                  </a:lnTo>
                  <a:lnTo>
                    <a:pt x="168" y="489"/>
                  </a:lnTo>
                  <a:lnTo>
                    <a:pt x="162" y="489"/>
                  </a:lnTo>
                  <a:lnTo>
                    <a:pt x="160" y="490"/>
                  </a:lnTo>
                  <a:lnTo>
                    <a:pt x="155" y="487"/>
                  </a:lnTo>
                  <a:lnTo>
                    <a:pt x="153" y="481"/>
                  </a:lnTo>
                  <a:lnTo>
                    <a:pt x="149" y="473"/>
                  </a:lnTo>
                  <a:lnTo>
                    <a:pt x="141" y="465"/>
                  </a:lnTo>
                  <a:lnTo>
                    <a:pt x="141" y="455"/>
                  </a:lnTo>
                  <a:lnTo>
                    <a:pt x="142" y="453"/>
                  </a:lnTo>
                  <a:lnTo>
                    <a:pt x="133" y="423"/>
                  </a:lnTo>
                  <a:lnTo>
                    <a:pt x="128" y="416"/>
                  </a:lnTo>
                  <a:lnTo>
                    <a:pt x="120" y="404"/>
                  </a:lnTo>
                  <a:lnTo>
                    <a:pt x="112" y="400"/>
                  </a:lnTo>
                  <a:lnTo>
                    <a:pt x="109" y="395"/>
                  </a:lnTo>
                  <a:lnTo>
                    <a:pt x="108" y="388"/>
                  </a:lnTo>
                  <a:lnTo>
                    <a:pt x="96" y="373"/>
                  </a:lnTo>
                  <a:lnTo>
                    <a:pt x="87" y="350"/>
                  </a:lnTo>
                  <a:lnTo>
                    <a:pt x="81" y="341"/>
                  </a:lnTo>
                  <a:lnTo>
                    <a:pt x="74" y="336"/>
                  </a:lnTo>
                  <a:lnTo>
                    <a:pt x="61" y="319"/>
                  </a:lnTo>
                  <a:lnTo>
                    <a:pt x="60" y="314"/>
                  </a:lnTo>
                  <a:lnTo>
                    <a:pt x="53" y="304"/>
                  </a:lnTo>
                  <a:lnTo>
                    <a:pt x="45" y="288"/>
                  </a:lnTo>
                  <a:lnTo>
                    <a:pt x="32" y="263"/>
                  </a:lnTo>
                  <a:lnTo>
                    <a:pt x="26" y="259"/>
                  </a:lnTo>
                  <a:lnTo>
                    <a:pt x="17" y="259"/>
                  </a:lnTo>
                  <a:lnTo>
                    <a:pt x="9" y="258"/>
                  </a:lnTo>
                  <a:lnTo>
                    <a:pt x="7" y="256"/>
                  </a:lnTo>
                  <a:lnTo>
                    <a:pt x="2" y="258"/>
                  </a:lnTo>
                  <a:lnTo>
                    <a:pt x="0" y="263"/>
                  </a:lnTo>
                  <a:lnTo>
                    <a:pt x="11" y="233"/>
                  </a:lnTo>
                  <a:lnTo>
                    <a:pt x="12" y="211"/>
                  </a:lnTo>
                  <a:lnTo>
                    <a:pt x="13" y="202"/>
                  </a:lnTo>
                  <a:lnTo>
                    <a:pt x="18" y="193"/>
                  </a:lnTo>
                  <a:lnTo>
                    <a:pt x="17" y="178"/>
                  </a:lnTo>
                  <a:lnTo>
                    <a:pt x="20" y="186"/>
                  </a:lnTo>
                  <a:lnTo>
                    <a:pt x="81" y="194"/>
                  </a:lnTo>
                  <a:lnTo>
                    <a:pt x="98" y="177"/>
                  </a:lnTo>
                  <a:lnTo>
                    <a:pt x="99" y="174"/>
                  </a:lnTo>
                  <a:lnTo>
                    <a:pt x="114" y="148"/>
                  </a:lnTo>
                  <a:lnTo>
                    <a:pt x="156" y="142"/>
                  </a:lnTo>
                  <a:lnTo>
                    <a:pt x="157" y="132"/>
                  </a:lnTo>
                  <a:lnTo>
                    <a:pt x="163" y="116"/>
                  </a:lnTo>
                  <a:lnTo>
                    <a:pt x="185" y="104"/>
                  </a:lnTo>
                  <a:lnTo>
                    <a:pt x="187" y="103"/>
                  </a:lnTo>
                  <a:lnTo>
                    <a:pt x="134" y="49"/>
                  </a:lnTo>
                  <a:lnTo>
                    <a:pt x="125" y="43"/>
                  </a:lnTo>
                  <a:lnTo>
                    <a:pt x="166" y="33"/>
                  </a:lnTo>
                  <a:lnTo>
                    <a:pt x="232" y="21"/>
                  </a:lnTo>
                  <a:lnTo>
                    <a:pt x="248" y="0"/>
                  </a:lnTo>
                  <a:lnTo>
                    <a:pt x="332" y="23"/>
                  </a:lnTo>
                  <a:lnTo>
                    <a:pt x="394" y="70"/>
                  </a:lnTo>
                  <a:lnTo>
                    <a:pt x="450" y="91"/>
                  </a:lnTo>
                  <a:lnTo>
                    <a:pt x="456" y="96"/>
                  </a:lnTo>
                  <a:lnTo>
                    <a:pt x="464" y="114"/>
                  </a:lnTo>
                  <a:lnTo>
                    <a:pt x="493" y="116"/>
                  </a:lnTo>
                  <a:lnTo>
                    <a:pt x="495" y="119"/>
                  </a:lnTo>
                  <a:lnTo>
                    <a:pt x="495" y="158"/>
                  </a:lnTo>
                  <a:lnTo>
                    <a:pt x="497" y="162"/>
                  </a:lnTo>
                  <a:lnTo>
                    <a:pt x="560" y="190"/>
                  </a:lnTo>
                  <a:lnTo>
                    <a:pt x="658"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6" name="Freeform 1492"/>
            <p:cNvSpPr>
              <a:spLocks/>
            </p:cNvSpPr>
            <p:nvPr/>
          </p:nvSpPr>
          <p:spPr bwMode="auto">
            <a:xfrm>
              <a:off x="5359272" y="3774573"/>
              <a:ext cx="49674" cy="29977"/>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7" name="Freeform 1493"/>
            <p:cNvSpPr>
              <a:spLocks/>
            </p:cNvSpPr>
            <p:nvPr/>
          </p:nvSpPr>
          <p:spPr bwMode="auto">
            <a:xfrm>
              <a:off x="5971253" y="3698630"/>
              <a:ext cx="313939" cy="239819"/>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8" name="Freeform 1494"/>
            <p:cNvSpPr>
              <a:spLocks/>
            </p:cNvSpPr>
            <p:nvPr/>
          </p:nvSpPr>
          <p:spPr bwMode="auto">
            <a:xfrm>
              <a:off x="6730268" y="4486032"/>
              <a:ext cx="236447" cy="251809"/>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9" name="Freeform 1495"/>
            <p:cNvSpPr>
              <a:spLocks/>
            </p:cNvSpPr>
            <p:nvPr/>
          </p:nvSpPr>
          <p:spPr bwMode="auto">
            <a:xfrm>
              <a:off x="6948833" y="4737841"/>
              <a:ext cx="200683" cy="63952"/>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0" name="Freeform 1496"/>
            <p:cNvSpPr>
              <a:spLocks/>
            </p:cNvSpPr>
            <p:nvPr/>
          </p:nvSpPr>
          <p:spPr bwMode="auto">
            <a:xfrm>
              <a:off x="7028310" y="4514010"/>
              <a:ext cx="216577" cy="185859"/>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1" name="Freeform 1497"/>
            <p:cNvSpPr>
              <a:spLocks/>
            </p:cNvSpPr>
            <p:nvPr/>
          </p:nvSpPr>
          <p:spPr bwMode="auto">
            <a:xfrm>
              <a:off x="7888660" y="4699869"/>
              <a:ext cx="87426" cy="47964"/>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2" name="Freeform 1498"/>
            <p:cNvSpPr>
              <a:spLocks/>
            </p:cNvSpPr>
            <p:nvPr/>
          </p:nvSpPr>
          <p:spPr bwMode="auto">
            <a:xfrm>
              <a:off x="7727717" y="4665896"/>
              <a:ext cx="216577" cy="177864"/>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3" name="Freeform 1499"/>
            <p:cNvSpPr>
              <a:spLocks/>
            </p:cNvSpPr>
            <p:nvPr/>
          </p:nvSpPr>
          <p:spPr bwMode="auto">
            <a:xfrm>
              <a:off x="7209123" y="4360128"/>
              <a:ext cx="49674" cy="65950"/>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4" name="Freeform 1500"/>
            <p:cNvSpPr>
              <a:spLocks/>
            </p:cNvSpPr>
            <p:nvPr/>
          </p:nvSpPr>
          <p:spPr bwMode="auto">
            <a:xfrm>
              <a:off x="7274692" y="4314163"/>
              <a:ext cx="27817" cy="27979"/>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5" name="Freeform 1501"/>
            <p:cNvSpPr>
              <a:spLocks/>
            </p:cNvSpPr>
            <p:nvPr/>
          </p:nvSpPr>
          <p:spPr bwMode="auto">
            <a:xfrm>
              <a:off x="7264758" y="4196252"/>
              <a:ext cx="93387" cy="137895"/>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6" name="Freeform 1502"/>
            <p:cNvSpPr>
              <a:spLocks/>
            </p:cNvSpPr>
            <p:nvPr/>
          </p:nvSpPr>
          <p:spPr bwMode="auto">
            <a:xfrm>
              <a:off x="7338275" y="4334147"/>
              <a:ext cx="17883" cy="17987"/>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7" name="Freeform 1503"/>
            <p:cNvSpPr>
              <a:spLocks/>
            </p:cNvSpPr>
            <p:nvPr/>
          </p:nvSpPr>
          <p:spPr bwMode="auto">
            <a:xfrm>
              <a:off x="7362117" y="4332149"/>
              <a:ext cx="29805" cy="33974"/>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8" name="Freeform 1504"/>
            <p:cNvSpPr>
              <a:spLocks/>
            </p:cNvSpPr>
            <p:nvPr/>
          </p:nvSpPr>
          <p:spPr bwMode="auto">
            <a:xfrm>
              <a:off x="7310457" y="4348136"/>
              <a:ext cx="25831" cy="33974"/>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9" name="Freeform 1505"/>
            <p:cNvSpPr>
              <a:spLocks/>
            </p:cNvSpPr>
            <p:nvPr/>
          </p:nvSpPr>
          <p:spPr bwMode="auto">
            <a:xfrm>
              <a:off x="7320392" y="4370120"/>
              <a:ext cx="23844" cy="41968"/>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0" name="Freeform 1506"/>
            <p:cNvSpPr>
              <a:spLocks/>
            </p:cNvSpPr>
            <p:nvPr/>
          </p:nvSpPr>
          <p:spPr bwMode="auto">
            <a:xfrm>
              <a:off x="7362117" y="4358128"/>
              <a:ext cx="19870" cy="31975"/>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1" name="Freeform 1507"/>
            <p:cNvSpPr>
              <a:spLocks/>
            </p:cNvSpPr>
            <p:nvPr/>
          </p:nvSpPr>
          <p:spPr bwMode="auto">
            <a:xfrm>
              <a:off x="7342249" y="4362126"/>
              <a:ext cx="13908" cy="3997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2" name="Freeform 1508"/>
            <p:cNvSpPr>
              <a:spLocks/>
            </p:cNvSpPr>
            <p:nvPr/>
          </p:nvSpPr>
          <p:spPr bwMode="auto">
            <a:xfrm>
              <a:off x="7352183" y="4386107"/>
              <a:ext cx="15896" cy="13990"/>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3" name="Freeform 1509"/>
            <p:cNvSpPr>
              <a:spLocks/>
            </p:cNvSpPr>
            <p:nvPr/>
          </p:nvSpPr>
          <p:spPr bwMode="auto">
            <a:xfrm>
              <a:off x="7310457" y="4396101"/>
              <a:ext cx="101335" cy="91930"/>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4" name="Freeform 1510"/>
            <p:cNvSpPr>
              <a:spLocks/>
            </p:cNvSpPr>
            <p:nvPr/>
          </p:nvSpPr>
          <p:spPr bwMode="auto">
            <a:xfrm>
              <a:off x="7137593" y="4498023"/>
              <a:ext cx="29805" cy="23982"/>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5" name="Freeform 1511"/>
            <p:cNvSpPr>
              <a:spLocks/>
            </p:cNvSpPr>
            <p:nvPr/>
          </p:nvSpPr>
          <p:spPr bwMode="auto">
            <a:xfrm>
              <a:off x="7183292" y="4679885"/>
              <a:ext cx="5961" cy="17987"/>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6" name="Freeform 1512"/>
            <p:cNvSpPr>
              <a:spLocks/>
            </p:cNvSpPr>
            <p:nvPr/>
          </p:nvSpPr>
          <p:spPr bwMode="auto">
            <a:xfrm>
              <a:off x="7372053" y="4791800"/>
              <a:ext cx="53648" cy="23982"/>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7" name="Freeform 1513"/>
            <p:cNvSpPr>
              <a:spLocks/>
            </p:cNvSpPr>
            <p:nvPr/>
          </p:nvSpPr>
          <p:spPr bwMode="auto">
            <a:xfrm>
              <a:off x="7346223" y="4807788"/>
              <a:ext cx="33778" cy="27979"/>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8" name="Freeform 1514"/>
            <p:cNvSpPr>
              <a:spLocks/>
            </p:cNvSpPr>
            <p:nvPr/>
          </p:nvSpPr>
          <p:spPr bwMode="auto">
            <a:xfrm>
              <a:off x="7441597" y="4669892"/>
              <a:ext cx="63583" cy="23982"/>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9" name="Freeform 1515"/>
            <p:cNvSpPr>
              <a:spLocks/>
            </p:cNvSpPr>
            <p:nvPr/>
          </p:nvSpPr>
          <p:spPr bwMode="auto">
            <a:xfrm>
              <a:off x="7244888" y="4571967"/>
              <a:ext cx="137100" cy="161877"/>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0" name="Freeform 1516"/>
            <p:cNvSpPr>
              <a:spLocks/>
            </p:cNvSpPr>
            <p:nvPr/>
          </p:nvSpPr>
          <p:spPr bwMode="auto">
            <a:xfrm>
              <a:off x="7429674" y="4559976"/>
              <a:ext cx="31791" cy="67949"/>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1" name="Freeform 1517"/>
            <p:cNvSpPr>
              <a:spLocks/>
            </p:cNvSpPr>
            <p:nvPr/>
          </p:nvSpPr>
          <p:spPr bwMode="auto">
            <a:xfrm>
              <a:off x="7507165" y="4617931"/>
              <a:ext cx="226512" cy="191854"/>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2" name="Freeform 1518"/>
            <p:cNvSpPr>
              <a:spLocks/>
            </p:cNvSpPr>
            <p:nvPr/>
          </p:nvSpPr>
          <p:spPr bwMode="auto">
            <a:xfrm>
              <a:off x="7942307" y="4665896"/>
              <a:ext cx="51660" cy="47964"/>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3" name="Freeform 1519"/>
            <p:cNvSpPr>
              <a:spLocks/>
            </p:cNvSpPr>
            <p:nvPr/>
          </p:nvSpPr>
          <p:spPr bwMode="auto">
            <a:xfrm>
              <a:off x="6879289" y="4090333"/>
              <a:ext cx="156969" cy="331748"/>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4" name="Freeform 1520"/>
            <p:cNvSpPr>
              <a:spLocks/>
            </p:cNvSpPr>
            <p:nvPr/>
          </p:nvSpPr>
          <p:spPr bwMode="auto">
            <a:xfrm>
              <a:off x="7042219" y="4458053"/>
              <a:ext cx="210617" cy="131899"/>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5" name="Freeform 1521"/>
            <p:cNvSpPr>
              <a:spLocks/>
            </p:cNvSpPr>
            <p:nvPr/>
          </p:nvSpPr>
          <p:spPr bwMode="auto">
            <a:xfrm>
              <a:off x="6837563" y="4462050"/>
              <a:ext cx="89412" cy="117910"/>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6" name="Freeform 1522"/>
            <p:cNvSpPr>
              <a:spLocks/>
            </p:cNvSpPr>
            <p:nvPr/>
          </p:nvSpPr>
          <p:spPr bwMode="auto">
            <a:xfrm>
              <a:off x="6781928" y="4148288"/>
              <a:ext cx="170878" cy="337744"/>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7" name="Freeform 1523"/>
            <p:cNvSpPr>
              <a:spLocks/>
            </p:cNvSpPr>
            <p:nvPr/>
          </p:nvSpPr>
          <p:spPr bwMode="auto">
            <a:xfrm>
              <a:off x="6664699" y="3966427"/>
              <a:ext cx="192734" cy="419681"/>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8" name="Freeform 1524"/>
            <p:cNvSpPr>
              <a:spLocks/>
            </p:cNvSpPr>
            <p:nvPr/>
          </p:nvSpPr>
          <p:spPr bwMode="auto">
            <a:xfrm>
              <a:off x="6883262" y="4286184"/>
              <a:ext cx="115243" cy="93929"/>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9" name="Freeform 1525"/>
            <p:cNvSpPr>
              <a:spLocks/>
            </p:cNvSpPr>
            <p:nvPr/>
          </p:nvSpPr>
          <p:spPr bwMode="auto">
            <a:xfrm>
              <a:off x="6837563" y="4106320"/>
              <a:ext cx="156969" cy="195851"/>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0" name="Freeform 1527"/>
            <p:cNvSpPr>
              <a:spLocks/>
            </p:cNvSpPr>
            <p:nvPr/>
          </p:nvSpPr>
          <p:spPr bwMode="auto">
            <a:xfrm>
              <a:off x="6626946" y="4100326"/>
              <a:ext cx="5961" cy="9992"/>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1" name="Freeform 1528"/>
            <p:cNvSpPr>
              <a:spLocks/>
            </p:cNvSpPr>
            <p:nvPr/>
          </p:nvSpPr>
          <p:spPr bwMode="auto">
            <a:xfrm>
              <a:off x="6136169" y="3768577"/>
              <a:ext cx="639798" cy="663496"/>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baseline="-25000" dirty="0"/>
            </a:p>
          </p:txBody>
        </p:sp>
        <p:sp>
          <p:nvSpPr>
            <p:cNvPr id="602" name="Freeform 1529"/>
            <p:cNvSpPr>
              <a:spLocks/>
            </p:cNvSpPr>
            <p:nvPr/>
          </p:nvSpPr>
          <p:spPr bwMode="auto">
            <a:xfrm>
              <a:off x="5979200" y="3740598"/>
              <a:ext cx="365599" cy="335745"/>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3" name="Freeform 1530"/>
            <p:cNvSpPr>
              <a:spLocks/>
            </p:cNvSpPr>
            <p:nvPr/>
          </p:nvSpPr>
          <p:spPr bwMode="auto">
            <a:xfrm>
              <a:off x="6587207" y="3966427"/>
              <a:ext cx="73517" cy="39970"/>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4" name="Freeform 1531"/>
            <p:cNvSpPr>
              <a:spLocks/>
            </p:cNvSpPr>
            <p:nvPr/>
          </p:nvSpPr>
          <p:spPr bwMode="auto">
            <a:xfrm>
              <a:off x="6398447" y="3916465"/>
              <a:ext cx="174852" cy="97925"/>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5" name="Freeform 1532"/>
            <p:cNvSpPr>
              <a:spLocks/>
            </p:cNvSpPr>
            <p:nvPr/>
          </p:nvSpPr>
          <p:spPr bwMode="auto">
            <a:xfrm>
              <a:off x="6567337" y="4010393"/>
              <a:ext cx="103321" cy="133899"/>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6" name="Freeform 1533"/>
            <p:cNvSpPr>
              <a:spLocks/>
            </p:cNvSpPr>
            <p:nvPr/>
          </p:nvSpPr>
          <p:spPr bwMode="auto">
            <a:xfrm>
              <a:off x="6390498" y="4394102"/>
              <a:ext cx="45699" cy="85935"/>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7" name="Freeform 1536"/>
            <p:cNvSpPr>
              <a:spLocks/>
            </p:cNvSpPr>
            <p:nvPr/>
          </p:nvSpPr>
          <p:spPr bwMode="auto">
            <a:xfrm>
              <a:off x="7701887" y="3494784"/>
              <a:ext cx="131139" cy="121907"/>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8" name="Freeform 1537"/>
            <p:cNvSpPr>
              <a:spLocks/>
            </p:cNvSpPr>
            <p:nvPr/>
          </p:nvSpPr>
          <p:spPr bwMode="auto">
            <a:xfrm>
              <a:off x="7507165" y="3614694"/>
              <a:ext cx="244395" cy="219833"/>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9" name="Freeform 1538"/>
            <p:cNvSpPr>
              <a:spLocks/>
            </p:cNvSpPr>
            <p:nvPr/>
          </p:nvSpPr>
          <p:spPr bwMode="auto">
            <a:xfrm>
              <a:off x="7534983" y="3812543"/>
              <a:ext cx="55635" cy="41968"/>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0" name="Freeform 1539"/>
            <p:cNvSpPr>
              <a:spLocks/>
            </p:cNvSpPr>
            <p:nvPr/>
          </p:nvSpPr>
          <p:spPr bwMode="auto">
            <a:xfrm>
              <a:off x="7479349" y="3822536"/>
              <a:ext cx="51660" cy="75942"/>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1" name="Freeform 1540"/>
            <p:cNvSpPr>
              <a:spLocks/>
            </p:cNvSpPr>
            <p:nvPr/>
          </p:nvSpPr>
          <p:spPr bwMode="auto">
            <a:xfrm>
              <a:off x="7401857" y="3698629"/>
              <a:ext cx="75504" cy="113914"/>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2" name="Freeform 1541"/>
            <p:cNvSpPr>
              <a:spLocks/>
            </p:cNvSpPr>
            <p:nvPr/>
          </p:nvSpPr>
          <p:spPr bwMode="auto">
            <a:xfrm>
              <a:off x="6567337" y="3270954"/>
              <a:ext cx="689471" cy="339742"/>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3" name="Freeform 1543"/>
            <p:cNvSpPr>
              <a:spLocks/>
            </p:cNvSpPr>
            <p:nvPr/>
          </p:nvSpPr>
          <p:spPr bwMode="auto">
            <a:xfrm>
              <a:off x="7020363" y="4160279"/>
              <a:ext cx="51660" cy="45965"/>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4" name="Freeform 1544"/>
            <p:cNvSpPr>
              <a:spLocks/>
            </p:cNvSpPr>
            <p:nvPr/>
          </p:nvSpPr>
          <p:spPr bwMode="auto">
            <a:xfrm>
              <a:off x="6257374" y="3224989"/>
              <a:ext cx="1335231" cy="933291"/>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5" name="Freeform 1545"/>
            <p:cNvSpPr>
              <a:spLocks/>
            </p:cNvSpPr>
            <p:nvPr/>
          </p:nvSpPr>
          <p:spPr bwMode="auto">
            <a:xfrm>
              <a:off x="7364105" y="3570727"/>
              <a:ext cx="137100" cy="151885"/>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6" name="Freeform 1547"/>
            <p:cNvSpPr>
              <a:spLocks/>
            </p:cNvSpPr>
            <p:nvPr/>
          </p:nvSpPr>
          <p:spPr bwMode="auto">
            <a:xfrm>
              <a:off x="4858502" y="3381448"/>
              <a:ext cx="166959" cy="81969"/>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7" name="Freeform 1548"/>
            <p:cNvSpPr>
              <a:spLocks/>
            </p:cNvSpPr>
            <p:nvPr/>
          </p:nvSpPr>
          <p:spPr bwMode="auto">
            <a:xfrm>
              <a:off x="4683592" y="3581375"/>
              <a:ext cx="9938" cy="5998"/>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8" name="Freeform 1549"/>
            <p:cNvSpPr>
              <a:spLocks/>
            </p:cNvSpPr>
            <p:nvPr/>
          </p:nvSpPr>
          <p:spPr bwMode="auto">
            <a:xfrm>
              <a:off x="4860489" y="3433429"/>
              <a:ext cx="5963" cy="11996"/>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9" name="Freeform 1551"/>
            <p:cNvSpPr>
              <a:spLocks/>
            </p:cNvSpPr>
            <p:nvPr/>
          </p:nvSpPr>
          <p:spPr bwMode="auto">
            <a:xfrm>
              <a:off x="4926081" y="3705329"/>
              <a:ext cx="67579" cy="43984"/>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0" name="Freeform 1552"/>
            <p:cNvSpPr>
              <a:spLocks/>
            </p:cNvSpPr>
            <p:nvPr/>
          </p:nvSpPr>
          <p:spPr bwMode="auto">
            <a:xfrm>
              <a:off x="4832662" y="3619361"/>
              <a:ext cx="31802" cy="69974"/>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1" name="Freeform 1553"/>
            <p:cNvSpPr>
              <a:spLocks/>
            </p:cNvSpPr>
            <p:nvPr/>
          </p:nvSpPr>
          <p:spPr bwMode="auto">
            <a:xfrm>
              <a:off x="4798874" y="3443425"/>
              <a:ext cx="256402" cy="271898"/>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2" name="Freeform 1554"/>
            <p:cNvSpPr>
              <a:spLocks/>
            </p:cNvSpPr>
            <p:nvPr/>
          </p:nvSpPr>
          <p:spPr bwMode="auto">
            <a:xfrm>
              <a:off x="4777009" y="3341463"/>
              <a:ext cx="13913" cy="21992"/>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3" name="Freeform 1555"/>
            <p:cNvSpPr>
              <a:spLocks/>
            </p:cNvSpPr>
            <p:nvPr/>
          </p:nvSpPr>
          <p:spPr bwMode="auto">
            <a:xfrm>
              <a:off x="4782973" y="3425432"/>
              <a:ext cx="97393" cy="55979"/>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4" name="Freeform 1556"/>
            <p:cNvSpPr>
              <a:spLocks/>
            </p:cNvSpPr>
            <p:nvPr/>
          </p:nvSpPr>
          <p:spPr bwMode="auto">
            <a:xfrm>
              <a:off x="4715393" y="3297480"/>
              <a:ext cx="73542" cy="63976"/>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5" name="Freeform 1557"/>
            <p:cNvSpPr>
              <a:spLocks/>
            </p:cNvSpPr>
            <p:nvPr/>
          </p:nvSpPr>
          <p:spPr bwMode="auto">
            <a:xfrm>
              <a:off x="4455016" y="3547387"/>
              <a:ext cx="272302" cy="217919"/>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6" name="Freeform 1558"/>
            <p:cNvSpPr>
              <a:spLocks/>
            </p:cNvSpPr>
            <p:nvPr/>
          </p:nvSpPr>
          <p:spPr bwMode="auto">
            <a:xfrm>
              <a:off x="4729307" y="3225507"/>
              <a:ext cx="79504" cy="95965"/>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7" name="Freeform 1559"/>
            <p:cNvSpPr>
              <a:spLocks/>
            </p:cNvSpPr>
            <p:nvPr/>
          </p:nvSpPr>
          <p:spPr bwMode="auto">
            <a:xfrm>
              <a:off x="4451041" y="3597369"/>
              <a:ext cx="69566" cy="141948"/>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8" name="Freeform 1560"/>
            <p:cNvSpPr>
              <a:spLocks/>
            </p:cNvSpPr>
            <p:nvPr/>
          </p:nvSpPr>
          <p:spPr bwMode="auto">
            <a:xfrm>
              <a:off x="4782973" y="3171527"/>
              <a:ext cx="194786" cy="26190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9" name="Freeform 1562"/>
            <p:cNvSpPr>
              <a:spLocks/>
            </p:cNvSpPr>
            <p:nvPr/>
          </p:nvSpPr>
          <p:spPr bwMode="auto">
            <a:xfrm>
              <a:off x="4840612" y="3569378"/>
              <a:ext cx="21863" cy="47982"/>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0" name="Freeform 1563"/>
            <p:cNvSpPr>
              <a:spLocks/>
            </p:cNvSpPr>
            <p:nvPr/>
          </p:nvSpPr>
          <p:spPr bwMode="auto">
            <a:xfrm>
              <a:off x="4552409" y="3309475"/>
              <a:ext cx="276278" cy="279896"/>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1" name="Freeform 1565"/>
            <p:cNvSpPr>
              <a:spLocks/>
            </p:cNvSpPr>
            <p:nvPr/>
          </p:nvSpPr>
          <p:spPr bwMode="auto">
            <a:xfrm>
              <a:off x="4522595" y="3021582"/>
              <a:ext cx="170935" cy="325879"/>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2" name="Freeform 1566"/>
            <p:cNvSpPr>
              <a:spLocks/>
            </p:cNvSpPr>
            <p:nvPr/>
          </p:nvSpPr>
          <p:spPr bwMode="auto">
            <a:xfrm>
              <a:off x="4478868" y="3155532"/>
              <a:ext cx="55653" cy="49982"/>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3" name="Freeform 1567"/>
            <p:cNvSpPr>
              <a:spLocks/>
            </p:cNvSpPr>
            <p:nvPr/>
          </p:nvSpPr>
          <p:spPr bwMode="auto">
            <a:xfrm>
              <a:off x="4429177" y="3159531"/>
              <a:ext cx="93419" cy="137949"/>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4" name="Freeform 1568"/>
            <p:cNvSpPr>
              <a:spLocks/>
            </p:cNvSpPr>
            <p:nvPr/>
          </p:nvSpPr>
          <p:spPr bwMode="auto">
            <a:xfrm>
              <a:off x="4119110" y="2643722"/>
              <a:ext cx="238514" cy="163939"/>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5" name="Freeform 1569"/>
            <p:cNvSpPr>
              <a:spLocks/>
            </p:cNvSpPr>
            <p:nvPr/>
          </p:nvSpPr>
          <p:spPr bwMode="auto">
            <a:xfrm>
              <a:off x="5122668" y="3256515"/>
              <a:ext cx="397002" cy="277891"/>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6" name="Freeform 1570"/>
            <p:cNvSpPr>
              <a:spLocks/>
            </p:cNvSpPr>
            <p:nvPr/>
          </p:nvSpPr>
          <p:spPr bwMode="auto">
            <a:xfrm>
              <a:off x="5232173" y="3397443"/>
              <a:ext cx="75529" cy="95965"/>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7" name="Freeform 1571"/>
            <p:cNvSpPr>
              <a:spLocks/>
            </p:cNvSpPr>
            <p:nvPr/>
          </p:nvSpPr>
          <p:spPr bwMode="auto">
            <a:xfrm>
              <a:off x="5156644" y="3121545"/>
              <a:ext cx="212674" cy="179933"/>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8" name="Freeform 1573"/>
            <p:cNvSpPr>
              <a:spLocks/>
            </p:cNvSpPr>
            <p:nvPr/>
          </p:nvSpPr>
          <p:spPr bwMode="auto">
            <a:xfrm>
              <a:off x="4995647" y="3497405"/>
              <a:ext cx="85467" cy="85968"/>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9" name="Freeform 1574"/>
            <p:cNvSpPr>
              <a:spLocks/>
            </p:cNvSpPr>
            <p:nvPr/>
          </p:nvSpPr>
          <p:spPr bwMode="auto">
            <a:xfrm>
              <a:off x="5025461" y="3567379"/>
              <a:ext cx="29814" cy="15994"/>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0" name="Freeform 1575"/>
            <p:cNvSpPr>
              <a:spLocks/>
            </p:cNvSpPr>
            <p:nvPr/>
          </p:nvSpPr>
          <p:spPr bwMode="auto">
            <a:xfrm>
              <a:off x="5114904" y="3705329"/>
              <a:ext cx="49690" cy="51981"/>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1" name="Freeform 1576"/>
            <p:cNvSpPr>
              <a:spLocks/>
            </p:cNvSpPr>
            <p:nvPr/>
          </p:nvSpPr>
          <p:spPr bwMode="auto">
            <a:xfrm>
              <a:off x="5093040" y="3605365"/>
              <a:ext cx="139133" cy="117956"/>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2" name="Freeform 1577"/>
            <p:cNvSpPr>
              <a:spLocks/>
            </p:cNvSpPr>
            <p:nvPr/>
          </p:nvSpPr>
          <p:spPr bwMode="auto">
            <a:xfrm>
              <a:off x="5003597" y="3395444"/>
              <a:ext cx="147083" cy="87967"/>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3" name="Freeform 1578"/>
            <p:cNvSpPr>
              <a:spLocks/>
            </p:cNvSpPr>
            <p:nvPr/>
          </p:nvSpPr>
          <p:spPr bwMode="auto">
            <a:xfrm>
              <a:off x="4959869" y="3171527"/>
              <a:ext cx="216650" cy="205924"/>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4" name="Freeform 1579"/>
            <p:cNvSpPr>
              <a:spLocks/>
            </p:cNvSpPr>
            <p:nvPr/>
          </p:nvSpPr>
          <p:spPr bwMode="auto">
            <a:xfrm>
              <a:off x="5108941" y="3045572"/>
              <a:ext cx="160997" cy="95965"/>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5" name="Freeform 1580"/>
            <p:cNvSpPr>
              <a:spLocks/>
            </p:cNvSpPr>
            <p:nvPr/>
          </p:nvSpPr>
          <p:spPr bwMode="auto">
            <a:xfrm>
              <a:off x="4912167" y="3307476"/>
              <a:ext cx="151058" cy="89967"/>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6" name="Freeform 1581"/>
            <p:cNvSpPr>
              <a:spLocks/>
            </p:cNvSpPr>
            <p:nvPr/>
          </p:nvSpPr>
          <p:spPr bwMode="auto">
            <a:xfrm>
              <a:off x="5140742" y="3533392"/>
              <a:ext cx="137145" cy="85968"/>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7" name="Freeform 1582"/>
            <p:cNvSpPr>
              <a:spLocks/>
            </p:cNvSpPr>
            <p:nvPr/>
          </p:nvSpPr>
          <p:spPr bwMode="auto">
            <a:xfrm>
              <a:off x="4947944" y="3459419"/>
              <a:ext cx="127207" cy="109960"/>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8" name="Freeform 1583"/>
            <p:cNvSpPr>
              <a:spLocks/>
            </p:cNvSpPr>
            <p:nvPr/>
          </p:nvSpPr>
          <p:spPr bwMode="auto">
            <a:xfrm>
              <a:off x="5073163" y="3579375"/>
              <a:ext cx="39752" cy="85968"/>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9" name="Freeform 1584"/>
            <p:cNvSpPr>
              <a:spLocks/>
            </p:cNvSpPr>
            <p:nvPr/>
          </p:nvSpPr>
          <p:spPr bwMode="auto">
            <a:xfrm>
              <a:off x="5110928" y="3109550"/>
              <a:ext cx="125220" cy="95965"/>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0" name="Freeform 1585"/>
            <p:cNvSpPr>
              <a:spLocks/>
            </p:cNvSpPr>
            <p:nvPr/>
          </p:nvSpPr>
          <p:spPr bwMode="auto">
            <a:xfrm>
              <a:off x="5055275" y="3469417"/>
              <a:ext cx="95406" cy="133950"/>
            </a:xfrm>
            <a:custGeom>
              <a:avLst/>
              <a:gdLst/>
              <a:ahLst/>
              <a:cxnLst>
                <a:cxn ang="0">
                  <a:pos x="23" y="33"/>
                </a:cxn>
                <a:cxn ang="0">
                  <a:pos x="24" y="42"/>
                </a:cxn>
                <a:cxn ang="0">
                  <a:pos x="25" y="49"/>
                </a:cxn>
                <a:cxn ang="0">
                  <a:pos x="32" y="49"/>
                </a:cxn>
                <a:cxn ang="0">
                  <a:pos x="29" y="53"/>
                </a:cxn>
                <a:cxn ang="0">
                  <a:pos x="27" y="60"/>
                </a:cxn>
                <a:cxn ang="0">
                  <a:pos x="32" y="64"/>
                </a:cxn>
                <a:cxn ang="0">
                  <a:pos x="42" y="67"/>
                </a:cxn>
                <a:cxn ang="0">
                  <a:pos x="52" y="70"/>
                </a:cxn>
                <a:cxn ang="0">
                  <a:pos x="45" y="73"/>
                </a:cxn>
                <a:cxn ang="0">
                  <a:pos x="37" y="78"/>
                </a:cxn>
                <a:cxn ang="0">
                  <a:pos x="39" y="92"/>
                </a:cxn>
                <a:cxn ang="0">
                  <a:pos x="52" y="100"/>
                </a:cxn>
                <a:cxn ang="0">
                  <a:pos x="46" y="115"/>
                </a:cxn>
                <a:cxn ang="0">
                  <a:pos x="39" y="130"/>
                </a:cxn>
                <a:cxn ang="0">
                  <a:pos x="39" y="145"/>
                </a:cxn>
                <a:cxn ang="0">
                  <a:pos x="48" y="146"/>
                </a:cxn>
                <a:cxn ang="0">
                  <a:pos x="54" y="156"/>
                </a:cxn>
                <a:cxn ang="0">
                  <a:pos x="58" y="159"/>
                </a:cxn>
                <a:cxn ang="0">
                  <a:pos x="66" y="166"/>
                </a:cxn>
                <a:cxn ang="0">
                  <a:pos x="48" y="167"/>
                </a:cxn>
                <a:cxn ang="0">
                  <a:pos x="46" y="171"/>
                </a:cxn>
                <a:cxn ang="0">
                  <a:pos x="61" y="188"/>
                </a:cxn>
                <a:cxn ang="0">
                  <a:pos x="56" y="199"/>
                </a:cxn>
                <a:cxn ang="0">
                  <a:pos x="48" y="201"/>
                </a:cxn>
                <a:cxn ang="0">
                  <a:pos x="37" y="205"/>
                </a:cxn>
                <a:cxn ang="0">
                  <a:pos x="31" y="202"/>
                </a:cxn>
                <a:cxn ang="0">
                  <a:pos x="32" y="210"/>
                </a:cxn>
                <a:cxn ang="0">
                  <a:pos x="35" y="223"/>
                </a:cxn>
                <a:cxn ang="0">
                  <a:pos x="30" y="223"/>
                </a:cxn>
                <a:cxn ang="0">
                  <a:pos x="23" y="217"/>
                </a:cxn>
                <a:cxn ang="0">
                  <a:pos x="11" y="232"/>
                </a:cxn>
                <a:cxn ang="0">
                  <a:pos x="4" y="242"/>
                </a:cxn>
                <a:cxn ang="0">
                  <a:pos x="0" y="254"/>
                </a:cxn>
                <a:cxn ang="0">
                  <a:pos x="5" y="265"/>
                </a:cxn>
                <a:cxn ang="0">
                  <a:pos x="0" y="285"/>
                </a:cxn>
                <a:cxn ang="0">
                  <a:pos x="36" y="314"/>
                </a:cxn>
                <a:cxn ang="0">
                  <a:pos x="53" y="315"/>
                </a:cxn>
                <a:cxn ang="0">
                  <a:pos x="63" y="285"/>
                </a:cxn>
                <a:cxn ang="0">
                  <a:pos x="91" y="284"/>
                </a:cxn>
                <a:cxn ang="0">
                  <a:pos x="120" y="315"/>
                </a:cxn>
                <a:cxn ang="0">
                  <a:pos x="129" y="314"/>
                </a:cxn>
                <a:cxn ang="0">
                  <a:pos x="150" y="301"/>
                </a:cxn>
                <a:cxn ang="0">
                  <a:pos x="159" y="303"/>
                </a:cxn>
                <a:cxn ang="0">
                  <a:pos x="186" y="298"/>
                </a:cxn>
                <a:cxn ang="0">
                  <a:pos x="218" y="302"/>
                </a:cxn>
                <a:cxn ang="0">
                  <a:pos x="241" y="241"/>
                </a:cxn>
                <a:cxn ang="0">
                  <a:pos x="215" y="188"/>
                </a:cxn>
                <a:cxn ang="0">
                  <a:pos x="225" y="157"/>
                </a:cxn>
                <a:cxn ang="0">
                  <a:pos x="220" y="119"/>
                </a:cxn>
                <a:cxn ang="0">
                  <a:pos x="166" y="105"/>
                </a:cxn>
                <a:cxn ang="0">
                  <a:pos x="154" y="76"/>
                </a:cxn>
                <a:cxn ang="0">
                  <a:pos x="129" y="42"/>
                </a:cxn>
                <a:cxn ang="0">
                  <a:pos x="99" y="11"/>
                </a:cxn>
                <a:cxn ang="0">
                  <a:pos x="78" y="5"/>
                </a:cxn>
                <a:cxn ang="0">
                  <a:pos x="35" y="16"/>
                </a:cxn>
              </a:cxnLst>
              <a:rect l="0" t="0" r="r" b="b"/>
              <a:pathLst>
                <a:path w="241" h="331">
                  <a:moveTo>
                    <a:pt x="14" y="22"/>
                  </a:moveTo>
                  <a:lnTo>
                    <a:pt x="23" y="29"/>
                  </a:lnTo>
                  <a:lnTo>
                    <a:pt x="23" y="33"/>
                  </a:lnTo>
                  <a:lnTo>
                    <a:pt x="21" y="35"/>
                  </a:lnTo>
                  <a:lnTo>
                    <a:pt x="24" y="38"/>
                  </a:lnTo>
                  <a:lnTo>
                    <a:pt x="24" y="42"/>
                  </a:lnTo>
                  <a:lnTo>
                    <a:pt x="21" y="45"/>
                  </a:lnTo>
                  <a:lnTo>
                    <a:pt x="21" y="48"/>
                  </a:lnTo>
                  <a:lnTo>
                    <a:pt x="25" y="49"/>
                  </a:lnTo>
                  <a:lnTo>
                    <a:pt x="27" y="46"/>
                  </a:lnTo>
                  <a:lnTo>
                    <a:pt x="29" y="46"/>
                  </a:lnTo>
                  <a:lnTo>
                    <a:pt x="32" y="49"/>
                  </a:lnTo>
                  <a:lnTo>
                    <a:pt x="32" y="51"/>
                  </a:lnTo>
                  <a:lnTo>
                    <a:pt x="30" y="53"/>
                  </a:lnTo>
                  <a:lnTo>
                    <a:pt x="29" y="53"/>
                  </a:lnTo>
                  <a:lnTo>
                    <a:pt x="27" y="55"/>
                  </a:lnTo>
                  <a:lnTo>
                    <a:pt x="29" y="56"/>
                  </a:lnTo>
                  <a:lnTo>
                    <a:pt x="27" y="60"/>
                  </a:lnTo>
                  <a:lnTo>
                    <a:pt x="27" y="61"/>
                  </a:lnTo>
                  <a:lnTo>
                    <a:pt x="29" y="64"/>
                  </a:lnTo>
                  <a:lnTo>
                    <a:pt x="32" y="64"/>
                  </a:lnTo>
                  <a:lnTo>
                    <a:pt x="34" y="65"/>
                  </a:lnTo>
                  <a:lnTo>
                    <a:pt x="37" y="67"/>
                  </a:lnTo>
                  <a:lnTo>
                    <a:pt x="42" y="67"/>
                  </a:lnTo>
                  <a:lnTo>
                    <a:pt x="46" y="70"/>
                  </a:lnTo>
                  <a:lnTo>
                    <a:pt x="50" y="69"/>
                  </a:lnTo>
                  <a:lnTo>
                    <a:pt x="52" y="70"/>
                  </a:lnTo>
                  <a:lnTo>
                    <a:pt x="52" y="72"/>
                  </a:lnTo>
                  <a:lnTo>
                    <a:pt x="48" y="75"/>
                  </a:lnTo>
                  <a:lnTo>
                    <a:pt x="45" y="73"/>
                  </a:lnTo>
                  <a:lnTo>
                    <a:pt x="41" y="72"/>
                  </a:lnTo>
                  <a:lnTo>
                    <a:pt x="39" y="73"/>
                  </a:lnTo>
                  <a:lnTo>
                    <a:pt x="37" y="78"/>
                  </a:lnTo>
                  <a:lnTo>
                    <a:pt x="35" y="81"/>
                  </a:lnTo>
                  <a:lnTo>
                    <a:pt x="37" y="91"/>
                  </a:lnTo>
                  <a:lnTo>
                    <a:pt x="39" y="92"/>
                  </a:lnTo>
                  <a:lnTo>
                    <a:pt x="37" y="97"/>
                  </a:lnTo>
                  <a:lnTo>
                    <a:pt x="50" y="97"/>
                  </a:lnTo>
                  <a:lnTo>
                    <a:pt x="52" y="100"/>
                  </a:lnTo>
                  <a:lnTo>
                    <a:pt x="51" y="104"/>
                  </a:lnTo>
                  <a:lnTo>
                    <a:pt x="51" y="108"/>
                  </a:lnTo>
                  <a:lnTo>
                    <a:pt x="46" y="115"/>
                  </a:lnTo>
                  <a:lnTo>
                    <a:pt x="41" y="126"/>
                  </a:lnTo>
                  <a:lnTo>
                    <a:pt x="39" y="128"/>
                  </a:lnTo>
                  <a:lnTo>
                    <a:pt x="39" y="130"/>
                  </a:lnTo>
                  <a:lnTo>
                    <a:pt x="40" y="132"/>
                  </a:lnTo>
                  <a:lnTo>
                    <a:pt x="36" y="137"/>
                  </a:lnTo>
                  <a:lnTo>
                    <a:pt x="39" y="145"/>
                  </a:lnTo>
                  <a:lnTo>
                    <a:pt x="42" y="145"/>
                  </a:lnTo>
                  <a:lnTo>
                    <a:pt x="45" y="147"/>
                  </a:lnTo>
                  <a:lnTo>
                    <a:pt x="48" y="146"/>
                  </a:lnTo>
                  <a:lnTo>
                    <a:pt x="50" y="148"/>
                  </a:lnTo>
                  <a:lnTo>
                    <a:pt x="51" y="152"/>
                  </a:lnTo>
                  <a:lnTo>
                    <a:pt x="54" y="156"/>
                  </a:lnTo>
                  <a:lnTo>
                    <a:pt x="58" y="156"/>
                  </a:lnTo>
                  <a:lnTo>
                    <a:pt x="58" y="157"/>
                  </a:lnTo>
                  <a:lnTo>
                    <a:pt x="58" y="159"/>
                  </a:lnTo>
                  <a:lnTo>
                    <a:pt x="63" y="162"/>
                  </a:lnTo>
                  <a:lnTo>
                    <a:pt x="66" y="163"/>
                  </a:lnTo>
                  <a:lnTo>
                    <a:pt x="66" y="166"/>
                  </a:lnTo>
                  <a:lnTo>
                    <a:pt x="62" y="171"/>
                  </a:lnTo>
                  <a:lnTo>
                    <a:pt x="53" y="171"/>
                  </a:lnTo>
                  <a:lnTo>
                    <a:pt x="48" y="167"/>
                  </a:lnTo>
                  <a:lnTo>
                    <a:pt x="46" y="167"/>
                  </a:lnTo>
                  <a:lnTo>
                    <a:pt x="45" y="169"/>
                  </a:lnTo>
                  <a:lnTo>
                    <a:pt x="46" y="171"/>
                  </a:lnTo>
                  <a:lnTo>
                    <a:pt x="52" y="178"/>
                  </a:lnTo>
                  <a:lnTo>
                    <a:pt x="58" y="186"/>
                  </a:lnTo>
                  <a:lnTo>
                    <a:pt x="61" y="188"/>
                  </a:lnTo>
                  <a:lnTo>
                    <a:pt x="59" y="195"/>
                  </a:lnTo>
                  <a:lnTo>
                    <a:pt x="58" y="198"/>
                  </a:lnTo>
                  <a:lnTo>
                    <a:pt x="56" y="199"/>
                  </a:lnTo>
                  <a:lnTo>
                    <a:pt x="53" y="198"/>
                  </a:lnTo>
                  <a:lnTo>
                    <a:pt x="51" y="198"/>
                  </a:lnTo>
                  <a:lnTo>
                    <a:pt x="48" y="201"/>
                  </a:lnTo>
                  <a:lnTo>
                    <a:pt x="43" y="204"/>
                  </a:lnTo>
                  <a:lnTo>
                    <a:pt x="40" y="204"/>
                  </a:lnTo>
                  <a:lnTo>
                    <a:pt x="37" y="205"/>
                  </a:lnTo>
                  <a:lnTo>
                    <a:pt x="35" y="205"/>
                  </a:lnTo>
                  <a:lnTo>
                    <a:pt x="34" y="202"/>
                  </a:lnTo>
                  <a:lnTo>
                    <a:pt x="31" y="202"/>
                  </a:lnTo>
                  <a:lnTo>
                    <a:pt x="27" y="206"/>
                  </a:lnTo>
                  <a:lnTo>
                    <a:pt x="29" y="209"/>
                  </a:lnTo>
                  <a:lnTo>
                    <a:pt x="32" y="210"/>
                  </a:lnTo>
                  <a:lnTo>
                    <a:pt x="34" y="215"/>
                  </a:lnTo>
                  <a:lnTo>
                    <a:pt x="35" y="218"/>
                  </a:lnTo>
                  <a:lnTo>
                    <a:pt x="35" y="223"/>
                  </a:lnTo>
                  <a:lnTo>
                    <a:pt x="34" y="226"/>
                  </a:lnTo>
                  <a:lnTo>
                    <a:pt x="31" y="226"/>
                  </a:lnTo>
                  <a:lnTo>
                    <a:pt x="30" y="223"/>
                  </a:lnTo>
                  <a:lnTo>
                    <a:pt x="29" y="218"/>
                  </a:lnTo>
                  <a:lnTo>
                    <a:pt x="26" y="217"/>
                  </a:lnTo>
                  <a:lnTo>
                    <a:pt x="23" y="217"/>
                  </a:lnTo>
                  <a:lnTo>
                    <a:pt x="14" y="225"/>
                  </a:lnTo>
                  <a:lnTo>
                    <a:pt x="13" y="229"/>
                  </a:lnTo>
                  <a:lnTo>
                    <a:pt x="11" y="232"/>
                  </a:lnTo>
                  <a:lnTo>
                    <a:pt x="11" y="239"/>
                  </a:lnTo>
                  <a:lnTo>
                    <a:pt x="9" y="242"/>
                  </a:lnTo>
                  <a:lnTo>
                    <a:pt x="4" y="242"/>
                  </a:lnTo>
                  <a:lnTo>
                    <a:pt x="2" y="244"/>
                  </a:lnTo>
                  <a:lnTo>
                    <a:pt x="2" y="253"/>
                  </a:lnTo>
                  <a:lnTo>
                    <a:pt x="0" y="254"/>
                  </a:lnTo>
                  <a:lnTo>
                    <a:pt x="0" y="258"/>
                  </a:lnTo>
                  <a:lnTo>
                    <a:pt x="3" y="263"/>
                  </a:lnTo>
                  <a:lnTo>
                    <a:pt x="5" y="265"/>
                  </a:lnTo>
                  <a:lnTo>
                    <a:pt x="5" y="270"/>
                  </a:lnTo>
                  <a:lnTo>
                    <a:pt x="0" y="277"/>
                  </a:lnTo>
                  <a:lnTo>
                    <a:pt x="0" y="285"/>
                  </a:lnTo>
                  <a:lnTo>
                    <a:pt x="16" y="297"/>
                  </a:lnTo>
                  <a:lnTo>
                    <a:pt x="27" y="308"/>
                  </a:lnTo>
                  <a:lnTo>
                    <a:pt x="36" y="314"/>
                  </a:lnTo>
                  <a:lnTo>
                    <a:pt x="42" y="326"/>
                  </a:lnTo>
                  <a:lnTo>
                    <a:pt x="48" y="331"/>
                  </a:lnTo>
                  <a:lnTo>
                    <a:pt x="53" y="315"/>
                  </a:lnTo>
                  <a:lnTo>
                    <a:pt x="51" y="304"/>
                  </a:lnTo>
                  <a:lnTo>
                    <a:pt x="56" y="290"/>
                  </a:lnTo>
                  <a:lnTo>
                    <a:pt x="63" y="285"/>
                  </a:lnTo>
                  <a:lnTo>
                    <a:pt x="69" y="275"/>
                  </a:lnTo>
                  <a:lnTo>
                    <a:pt x="77" y="282"/>
                  </a:lnTo>
                  <a:lnTo>
                    <a:pt x="91" y="284"/>
                  </a:lnTo>
                  <a:lnTo>
                    <a:pt x="97" y="295"/>
                  </a:lnTo>
                  <a:lnTo>
                    <a:pt x="107" y="299"/>
                  </a:lnTo>
                  <a:lnTo>
                    <a:pt x="120" y="315"/>
                  </a:lnTo>
                  <a:lnTo>
                    <a:pt x="121" y="317"/>
                  </a:lnTo>
                  <a:lnTo>
                    <a:pt x="126" y="317"/>
                  </a:lnTo>
                  <a:lnTo>
                    <a:pt x="129" y="314"/>
                  </a:lnTo>
                  <a:lnTo>
                    <a:pt x="129" y="306"/>
                  </a:lnTo>
                  <a:lnTo>
                    <a:pt x="147" y="299"/>
                  </a:lnTo>
                  <a:lnTo>
                    <a:pt x="150" y="301"/>
                  </a:lnTo>
                  <a:lnTo>
                    <a:pt x="156" y="308"/>
                  </a:lnTo>
                  <a:lnTo>
                    <a:pt x="159" y="308"/>
                  </a:lnTo>
                  <a:lnTo>
                    <a:pt x="159" y="303"/>
                  </a:lnTo>
                  <a:lnTo>
                    <a:pt x="166" y="298"/>
                  </a:lnTo>
                  <a:lnTo>
                    <a:pt x="182" y="302"/>
                  </a:lnTo>
                  <a:lnTo>
                    <a:pt x="186" y="298"/>
                  </a:lnTo>
                  <a:lnTo>
                    <a:pt x="201" y="301"/>
                  </a:lnTo>
                  <a:lnTo>
                    <a:pt x="212" y="299"/>
                  </a:lnTo>
                  <a:lnTo>
                    <a:pt x="218" y="302"/>
                  </a:lnTo>
                  <a:lnTo>
                    <a:pt x="218" y="277"/>
                  </a:lnTo>
                  <a:lnTo>
                    <a:pt x="230" y="253"/>
                  </a:lnTo>
                  <a:lnTo>
                    <a:pt x="241" y="241"/>
                  </a:lnTo>
                  <a:lnTo>
                    <a:pt x="226" y="225"/>
                  </a:lnTo>
                  <a:lnTo>
                    <a:pt x="218" y="210"/>
                  </a:lnTo>
                  <a:lnTo>
                    <a:pt x="215" y="188"/>
                  </a:lnTo>
                  <a:lnTo>
                    <a:pt x="218" y="167"/>
                  </a:lnTo>
                  <a:lnTo>
                    <a:pt x="235" y="159"/>
                  </a:lnTo>
                  <a:lnTo>
                    <a:pt x="225" y="157"/>
                  </a:lnTo>
                  <a:lnTo>
                    <a:pt x="218" y="141"/>
                  </a:lnTo>
                  <a:lnTo>
                    <a:pt x="228" y="130"/>
                  </a:lnTo>
                  <a:lnTo>
                    <a:pt x="220" y="119"/>
                  </a:lnTo>
                  <a:lnTo>
                    <a:pt x="209" y="128"/>
                  </a:lnTo>
                  <a:lnTo>
                    <a:pt x="181" y="118"/>
                  </a:lnTo>
                  <a:lnTo>
                    <a:pt x="166" y="105"/>
                  </a:lnTo>
                  <a:lnTo>
                    <a:pt x="165" y="91"/>
                  </a:lnTo>
                  <a:lnTo>
                    <a:pt x="163" y="81"/>
                  </a:lnTo>
                  <a:lnTo>
                    <a:pt x="154" y="76"/>
                  </a:lnTo>
                  <a:lnTo>
                    <a:pt x="143" y="73"/>
                  </a:lnTo>
                  <a:lnTo>
                    <a:pt x="134" y="60"/>
                  </a:lnTo>
                  <a:lnTo>
                    <a:pt x="129" y="42"/>
                  </a:lnTo>
                  <a:lnTo>
                    <a:pt x="124" y="29"/>
                  </a:lnTo>
                  <a:lnTo>
                    <a:pt x="113" y="17"/>
                  </a:lnTo>
                  <a:lnTo>
                    <a:pt x="99" y="11"/>
                  </a:lnTo>
                  <a:lnTo>
                    <a:pt x="94" y="7"/>
                  </a:lnTo>
                  <a:lnTo>
                    <a:pt x="90" y="0"/>
                  </a:lnTo>
                  <a:lnTo>
                    <a:pt x="78" y="5"/>
                  </a:lnTo>
                  <a:lnTo>
                    <a:pt x="66" y="5"/>
                  </a:lnTo>
                  <a:lnTo>
                    <a:pt x="50" y="16"/>
                  </a:lnTo>
                  <a:lnTo>
                    <a:pt x="35" y="16"/>
                  </a:lnTo>
                  <a:lnTo>
                    <a:pt x="29" y="21"/>
                  </a:lnTo>
                  <a:lnTo>
                    <a:pt x="14"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1" name="Freeform 1586"/>
            <p:cNvSpPr>
              <a:spLocks/>
            </p:cNvSpPr>
            <p:nvPr/>
          </p:nvSpPr>
          <p:spPr bwMode="auto">
            <a:xfrm>
              <a:off x="5021485" y="3361456"/>
              <a:ext cx="119256" cy="59978"/>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2" name="Freeform 1587"/>
            <p:cNvSpPr>
              <a:spLocks/>
            </p:cNvSpPr>
            <p:nvPr/>
          </p:nvSpPr>
          <p:spPr bwMode="auto">
            <a:xfrm>
              <a:off x="4945956" y="3449423"/>
              <a:ext cx="67579" cy="49982"/>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3" name="Freeform 1588"/>
            <p:cNvSpPr>
              <a:spLocks/>
            </p:cNvSpPr>
            <p:nvPr/>
          </p:nvSpPr>
          <p:spPr bwMode="auto">
            <a:xfrm>
              <a:off x="5100990" y="3589371"/>
              <a:ext cx="51678" cy="41984"/>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4" name="Freeform 1589"/>
            <p:cNvSpPr>
              <a:spLocks/>
            </p:cNvSpPr>
            <p:nvPr/>
          </p:nvSpPr>
          <p:spPr bwMode="auto">
            <a:xfrm>
              <a:off x="5093040" y="3403441"/>
              <a:ext cx="206712" cy="145946"/>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5" name="Freeform 1590"/>
            <p:cNvSpPr>
              <a:spLocks/>
            </p:cNvSpPr>
            <p:nvPr/>
          </p:nvSpPr>
          <p:spPr bwMode="auto">
            <a:xfrm>
              <a:off x="5162607" y="2979597"/>
              <a:ext cx="107331" cy="87967"/>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6" name="Freeform 1591"/>
            <p:cNvSpPr>
              <a:spLocks/>
            </p:cNvSpPr>
            <p:nvPr/>
          </p:nvSpPr>
          <p:spPr bwMode="auto">
            <a:xfrm>
              <a:off x="5100990" y="2433799"/>
              <a:ext cx="236526" cy="535801"/>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7" name="Freeform 1592"/>
            <p:cNvSpPr>
              <a:spLocks/>
            </p:cNvSpPr>
            <p:nvPr/>
          </p:nvSpPr>
          <p:spPr bwMode="auto">
            <a:xfrm>
              <a:off x="4828687" y="3059568"/>
              <a:ext cx="61616" cy="11395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8" name="Freeform 1593"/>
            <p:cNvSpPr>
              <a:spLocks/>
            </p:cNvSpPr>
            <p:nvPr/>
          </p:nvSpPr>
          <p:spPr bwMode="auto">
            <a:xfrm>
              <a:off x="4763096" y="2367824"/>
              <a:ext cx="566469" cy="679748"/>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9" name="Freeform 1594"/>
            <p:cNvSpPr>
              <a:spLocks/>
            </p:cNvSpPr>
            <p:nvPr/>
          </p:nvSpPr>
          <p:spPr bwMode="auto">
            <a:xfrm>
              <a:off x="4894279" y="2495777"/>
              <a:ext cx="284229" cy="655757"/>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0" name="Freeform 1596"/>
            <p:cNvSpPr>
              <a:spLocks/>
            </p:cNvSpPr>
            <p:nvPr/>
          </p:nvSpPr>
          <p:spPr bwMode="auto">
            <a:xfrm>
              <a:off x="4886328" y="1558124"/>
              <a:ext cx="234538" cy="373861"/>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1" name="Freeform 1597"/>
            <p:cNvSpPr>
              <a:spLocks/>
            </p:cNvSpPr>
            <p:nvPr/>
          </p:nvSpPr>
          <p:spPr bwMode="auto">
            <a:xfrm>
              <a:off x="5093040" y="1722064"/>
              <a:ext cx="49690" cy="4598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2" name="Freeform 1598"/>
            <p:cNvSpPr>
              <a:spLocks/>
            </p:cNvSpPr>
            <p:nvPr/>
          </p:nvSpPr>
          <p:spPr bwMode="auto">
            <a:xfrm>
              <a:off x="5160619" y="1778043"/>
              <a:ext cx="1987" cy="1999"/>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3" name="Freeform 1599"/>
            <p:cNvSpPr>
              <a:spLocks/>
            </p:cNvSpPr>
            <p:nvPr/>
          </p:nvSpPr>
          <p:spPr bwMode="auto">
            <a:xfrm>
              <a:off x="5160619" y="1780042"/>
              <a:ext cx="1987" cy="199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5" name="Freeform 1600"/>
            <p:cNvSpPr>
              <a:spLocks/>
            </p:cNvSpPr>
            <p:nvPr/>
          </p:nvSpPr>
          <p:spPr bwMode="auto">
            <a:xfrm>
              <a:off x="5106954" y="1758051"/>
              <a:ext cx="89442" cy="107960"/>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6" name="Freeform 1601"/>
            <p:cNvSpPr>
              <a:spLocks/>
            </p:cNvSpPr>
            <p:nvPr/>
          </p:nvSpPr>
          <p:spPr bwMode="auto">
            <a:xfrm>
              <a:off x="5049313" y="1558124"/>
              <a:ext cx="196774" cy="10396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pic>
          <p:nvPicPr>
            <p:cNvPr id="667" name="Grafik 37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86723" y="4008629"/>
              <a:ext cx="579662" cy="149318"/>
            </a:xfrm>
            <a:prstGeom prst="rect">
              <a:avLst/>
            </a:prstGeom>
          </p:spPr>
        </p:pic>
        <p:pic>
          <p:nvPicPr>
            <p:cNvPr id="668" name="Grafik 37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65727" y="2210109"/>
              <a:ext cx="544008" cy="152290"/>
            </a:xfrm>
            <a:prstGeom prst="rect">
              <a:avLst/>
            </a:prstGeom>
          </p:spPr>
        </p:pic>
        <p:pic>
          <p:nvPicPr>
            <p:cNvPr id="670" name="Grafik 37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40368" y="1978260"/>
              <a:ext cx="589968" cy="159876"/>
            </a:xfrm>
            <a:prstGeom prst="rect">
              <a:avLst/>
            </a:prstGeom>
          </p:spPr>
        </p:pic>
        <p:pic>
          <p:nvPicPr>
            <p:cNvPr id="671" name="Grafik 37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471514" y="2230288"/>
              <a:ext cx="592978" cy="160692"/>
            </a:xfrm>
            <a:prstGeom prst="rect">
              <a:avLst/>
            </a:prstGeom>
          </p:spPr>
        </p:pic>
        <p:pic>
          <p:nvPicPr>
            <p:cNvPr id="673" name="Grafik 37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595390" y="4109815"/>
              <a:ext cx="555082" cy="148860"/>
            </a:xfrm>
            <a:prstGeom prst="rect">
              <a:avLst/>
            </a:prstGeom>
          </p:spPr>
        </p:pic>
        <p:pic>
          <p:nvPicPr>
            <p:cNvPr id="674" name="Grafik 37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591238" y="3922476"/>
              <a:ext cx="601046" cy="153366"/>
            </a:xfrm>
            <a:prstGeom prst="rect">
              <a:avLst/>
            </a:prstGeom>
          </p:spPr>
        </p:pic>
        <p:pic>
          <p:nvPicPr>
            <p:cNvPr id="676" name="Grafik 37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157214" y="2375063"/>
              <a:ext cx="552752" cy="151380"/>
            </a:xfrm>
            <a:prstGeom prst="rect">
              <a:avLst/>
            </a:prstGeom>
          </p:spPr>
        </p:pic>
        <p:pic>
          <p:nvPicPr>
            <p:cNvPr id="677" name="Grafik 37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980404" y="3551547"/>
              <a:ext cx="460352" cy="154905"/>
            </a:xfrm>
            <a:prstGeom prst="rect">
              <a:avLst/>
            </a:prstGeom>
          </p:spPr>
        </p:pic>
        <p:pic>
          <p:nvPicPr>
            <p:cNvPr id="678" name="Grafik 37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940048" y="3850468"/>
              <a:ext cx="462406" cy="155596"/>
            </a:xfrm>
            <a:prstGeom prst="rect">
              <a:avLst/>
            </a:prstGeom>
          </p:spPr>
        </p:pic>
        <p:cxnSp>
          <p:nvCxnSpPr>
            <p:cNvPr id="679" name="Gerade Verbindung 380"/>
            <p:cNvCxnSpPr/>
            <p:nvPr/>
          </p:nvCxnSpPr>
          <p:spPr>
            <a:xfrm>
              <a:off x="1812983" y="4065115"/>
              <a:ext cx="588032"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0" name="Gerade Verbindung 381"/>
            <p:cNvCxnSpPr/>
            <p:nvPr/>
          </p:nvCxnSpPr>
          <p:spPr>
            <a:xfrm>
              <a:off x="5345144" y="2109234"/>
              <a:ext cx="1361" cy="125222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1" name="Gewinkelte Verbindung 649"/>
            <p:cNvCxnSpPr>
              <a:endCxn id="671" idx="2"/>
            </p:cNvCxnSpPr>
            <p:nvPr/>
          </p:nvCxnSpPr>
          <p:spPr>
            <a:xfrm rot="5400000" flipH="1" flipV="1">
              <a:off x="5354856" y="2708400"/>
              <a:ext cx="730567" cy="95728"/>
            </a:xfrm>
            <a:prstGeom prst="bentConnector3">
              <a:avLst>
                <a:gd name="adj1" fmla="val -289"/>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2" name="Gerade Verbindung 383"/>
            <p:cNvCxnSpPr/>
            <p:nvPr/>
          </p:nvCxnSpPr>
          <p:spPr>
            <a:xfrm>
              <a:off x="5055276" y="2333691"/>
              <a:ext cx="8357" cy="91343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3" name="Gewinkelte Verbindung 384"/>
            <p:cNvCxnSpPr/>
            <p:nvPr/>
          </p:nvCxnSpPr>
          <p:spPr>
            <a:xfrm flipV="1">
              <a:off x="4238367" y="3769561"/>
              <a:ext cx="619210" cy="388386"/>
            </a:xfrm>
            <a:prstGeom prst="bentConnector3">
              <a:avLst>
                <a:gd name="adj1" fmla="val 9559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4" name="Gewinkelte Verbindung 652"/>
            <p:cNvCxnSpPr/>
            <p:nvPr/>
          </p:nvCxnSpPr>
          <p:spPr>
            <a:xfrm>
              <a:off x="4721357" y="2443903"/>
              <a:ext cx="263422" cy="87913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5" name="Gewinkelte Verbindung 653"/>
            <p:cNvCxnSpPr>
              <a:stCxn id="689" idx="0"/>
            </p:cNvCxnSpPr>
            <p:nvPr/>
          </p:nvCxnSpPr>
          <p:spPr>
            <a:xfrm rot="16200000" flipV="1">
              <a:off x="4553931" y="2964273"/>
              <a:ext cx="187077" cy="436117"/>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6" name="Gewinkelte Verbindung 387"/>
            <p:cNvCxnSpPr>
              <a:endCxn id="633" idx="45"/>
            </p:cNvCxnSpPr>
            <p:nvPr/>
          </p:nvCxnSpPr>
          <p:spPr>
            <a:xfrm rot="10800000">
              <a:off x="4429410" y="3159691"/>
              <a:ext cx="322754" cy="163526"/>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7" name="Gewinkelte Verbindung 388"/>
            <p:cNvCxnSpPr/>
            <p:nvPr/>
          </p:nvCxnSpPr>
          <p:spPr>
            <a:xfrm rot="16200000" flipV="1">
              <a:off x="4263837" y="3296280"/>
              <a:ext cx="385988" cy="276335"/>
            </a:xfrm>
            <a:prstGeom prst="bentConnector3">
              <a:avLst>
                <a:gd name="adj1" fmla="val -81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88" name="Oval 1609"/>
            <p:cNvSpPr>
              <a:spLocks noChangeArrowheads="1"/>
            </p:cNvSpPr>
            <p:nvPr/>
          </p:nvSpPr>
          <p:spPr bwMode="auto">
            <a:xfrm>
              <a:off x="2370541" y="4030587"/>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89" name="Oval 1750"/>
            <p:cNvSpPr>
              <a:spLocks noChangeArrowheads="1"/>
            </p:cNvSpPr>
            <p:nvPr/>
          </p:nvSpPr>
          <p:spPr bwMode="auto">
            <a:xfrm>
              <a:off x="4835052" y="327587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0" name="Oval 1798"/>
            <p:cNvSpPr>
              <a:spLocks noChangeArrowheads="1"/>
            </p:cNvSpPr>
            <p:nvPr/>
          </p:nvSpPr>
          <p:spPr bwMode="auto">
            <a:xfrm>
              <a:off x="4727319" y="3292743"/>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1" name="Oval 1979"/>
            <p:cNvSpPr>
              <a:spLocks noChangeArrowheads="1"/>
            </p:cNvSpPr>
            <p:nvPr/>
          </p:nvSpPr>
          <p:spPr bwMode="auto">
            <a:xfrm>
              <a:off x="4804352" y="3769561"/>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2" name="Oval 1751"/>
            <p:cNvSpPr>
              <a:spLocks noChangeArrowheads="1"/>
            </p:cNvSpPr>
            <p:nvPr/>
          </p:nvSpPr>
          <p:spPr bwMode="auto">
            <a:xfrm>
              <a:off x="5032478" y="3227633"/>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3" name="Oval 1752"/>
            <p:cNvSpPr>
              <a:spLocks noChangeArrowheads="1"/>
            </p:cNvSpPr>
            <p:nvPr/>
          </p:nvSpPr>
          <p:spPr bwMode="auto">
            <a:xfrm>
              <a:off x="5316029" y="3340259"/>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4" name="Oval 1761"/>
            <p:cNvSpPr>
              <a:spLocks noChangeArrowheads="1"/>
            </p:cNvSpPr>
            <p:nvPr/>
          </p:nvSpPr>
          <p:spPr bwMode="auto">
            <a:xfrm>
              <a:off x="4954303" y="3312376"/>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5" name="Oval 1798"/>
            <p:cNvSpPr>
              <a:spLocks noChangeArrowheads="1"/>
            </p:cNvSpPr>
            <p:nvPr/>
          </p:nvSpPr>
          <p:spPr bwMode="auto">
            <a:xfrm>
              <a:off x="5632444" y="309107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6" name="Oval 1835"/>
            <p:cNvSpPr>
              <a:spLocks noChangeArrowheads="1"/>
            </p:cNvSpPr>
            <p:nvPr/>
          </p:nvSpPr>
          <p:spPr bwMode="auto">
            <a:xfrm>
              <a:off x="4563426" y="359731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697" name="Gerade Verbindung 398"/>
            <p:cNvCxnSpPr/>
            <p:nvPr/>
          </p:nvCxnSpPr>
          <p:spPr>
            <a:xfrm flipH="1">
              <a:off x="4238367" y="3485223"/>
              <a:ext cx="938777" cy="468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8" name="Gewinkelte Verbindung 399"/>
            <p:cNvCxnSpPr>
              <a:endCxn id="700" idx="2"/>
            </p:cNvCxnSpPr>
            <p:nvPr/>
          </p:nvCxnSpPr>
          <p:spPr>
            <a:xfrm flipV="1">
              <a:off x="4254270" y="3577435"/>
              <a:ext cx="910708" cy="145886"/>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99" name="Oval 1805"/>
            <p:cNvSpPr>
              <a:spLocks noChangeArrowheads="1"/>
            </p:cNvSpPr>
            <p:nvPr/>
          </p:nvSpPr>
          <p:spPr bwMode="auto">
            <a:xfrm>
              <a:off x="5150404" y="3447584"/>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00" name="Oval 1796"/>
            <p:cNvSpPr>
              <a:spLocks noChangeArrowheads="1"/>
            </p:cNvSpPr>
            <p:nvPr/>
          </p:nvSpPr>
          <p:spPr bwMode="auto">
            <a:xfrm>
              <a:off x="5164978" y="354696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701" name="Gewinkelte Verbindung 675"/>
            <p:cNvCxnSpPr>
              <a:stCxn id="702" idx="4"/>
            </p:cNvCxnSpPr>
            <p:nvPr/>
          </p:nvCxnSpPr>
          <p:spPr>
            <a:xfrm rot="5400000" flipH="1">
              <a:off x="4627175" y="2966740"/>
              <a:ext cx="175887" cy="725316"/>
            </a:xfrm>
            <a:prstGeom prst="bentConnector4">
              <a:avLst>
                <a:gd name="adj1" fmla="val 11947"/>
                <a:gd name="adj2" fmla="val 99509"/>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2" name="Oval 1753"/>
            <p:cNvSpPr>
              <a:spLocks noChangeArrowheads="1"/>
            </p:cNvSpPr>
            <p:nvPr/>
          </p:nvSpPr>
          <p:spPr bwMode="auto">
            <a:xfrm>
              <a:off x="5047302" y="3356391"/>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703" name="Gewinkelte Verbindung 4"/>
            <p:cNvCxnSpPr/>
            <p:nvPr/>
          </p:nvCxnSpPr>
          <p:spPr>
            <a:xfrm rot="10800000" flipV="1">
              <a:off x="4238368" y="3830483"/>
              <a:ext cx="285489" cy="168677"/>
            </a:xfrm>
            <a:prstGeom prst="bentConnector3">
              <a:avLst>
                <a:gd name="adj1" fmla="val -13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4" name="Gerade Verbindung 405"/>
            <p:cNvCxnSpPr/>
            <p:nvPr/>
          </p:nvCxnSpPr>
          <p:spPr>
            <a:xfrm flipV="1">
              <a:off x="7379678" y="3521397"/>
              <a:ext cx="512726" cy="308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5" name="Gerade Verbindung 406"/>
            <p:cNvCxnSpPr/>
            <p:nvPr/>
          </p:nvCxnSpPr>
          <p:spPr>
            <a:xfrm flipV="1">
              <a:off x="7241510" y="3908470"/>
              <a:ext cx="644862" cy="2496"/>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6" name="Oval 1642"/>
            <p:cNvSpPr>
              <a:spLocks noChangeArrowheads="1"/>
            </p:cNvSpPr>
            <p:nvPr/>
          </p:nvSpPr>
          <p:spPr bwMode="auto">
            <a:xfrm>
              <a:off x="7241559" y="3876129"/>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07" name="Oval 1642"/>
            <p:cNvSpPr>
              <a:spLocks noChangeArrowheads="1"/>
            </p:cNvSpPr>
            <p:nvPr/>
          </p:nvSpPr>
          <p:spPr bwMode="auto">
            <a:xfrm>
              <a:off x="7364751" y="3493322"/>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08" name="Oval 1845"/>
            <p:cNvSpPr>
              <a:spLocks noChangeArrowheads="1"/>
            </p:cNvSpPr>
            <p:nvPr/>
          </p:nvSpPr>
          <p:spPr bwMode="auto">
            <a:xfrm>
              <a:off x="4491374" y="377846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pic>
          <p:nvPicPr>
            <p:cNvPr id="709" name="Grafik 4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595897" y="3650346"/>
              <a:ext cx="614115" cy="166420"/>
            </a:xfrm>
            <a:prstGeom prst="rect">
              <a:avLst/>
            </a:prstGeom>
          </p:spPr>
        </p:pic>
        <p:pic>
          <p:nvPicPr>
            <p:cNvPr id="710" name="Grafik 41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591238" y="3425735"/>
              <a:ext cx="586068" cy="158820"/>
            </a:xfrm>
            <a:prstGeom prst="rect">
              <a:avLst/>
            </a:prstGeom>
          </p:spPr>
        </p:pic>
        <p:sp>
          <p:nvSpPr>
            <p:cNvPr id="711" name="Oval 1642"/>
            <p:cNvSpPr>
              <a:spLocks noChangeArrowheads="1"/>
            </p:cNvSpPr>
            <p:nvPr/>
          </p:nvSpPr>
          <p:spPr bwMode="auto">
            <a:xfrm>
              <a:off x="6975650" y="4041546"/>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83" name="Gerade Verbindung 418"/>
            <p:cNvCxnSpPr/>
            <p:nvPr/>
          </p:nvCxnSpPr>
          <p:spPr>
            <a:xfrm flipV="1">
              <a:off x="6928588" y="3598440"/>
              <a:ext cx="988259" cy="8828"/>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84" name="Gerade Verbindung 419"/>
            <p:cNvCxnSpPr>
              <a:stCxn id="985" idx="4"/>
            </p:cNvCxnSpPr>
            <p:nvPr/>
          </p:nvCxnSpPr>
          <p:spPr>
            <a:xfrm flipV="1">
              <a:off x="6934117" y="3610696"/>
              <a:ext cx="0" cy="275776"/>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85" name="Oval 1642"/>
            <p:cNvSpPr>
              <a:spLocks noChangeArrowheads="1"/>
            </p:cNvSpPr>
            <p:nvPr/>
          </p:nvSpPr>
          <p:spPr bwMode="auto">
            <a:xfrm>
              <a:off x="6903642" y="3825522"/>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86" name="Gerade Verbindung 420"/>
            <p:cNvCxnSpPr/>
            <p:nvPr/>
          </p:nvCxnSpPr>
          <p:spPr>
            <a:xfrm>
              <a:off x="7003893" y="3706452"/>
              <a:ext cx="3298" cy="328852"/>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87" name="Gerade Verbindung 421"/>
            <p:cNvCxnSpPr/>
            <p:nvPr/>
          </p:nvCxnSpPr>
          <p:spPr>
            <a:xfrm flipV="1">
              <a:off x="7000596" y="3698629"/>
              <a:ext cx="896484" cy="670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88" name="Oval 1750"/>
            <p:cNvSpPr>
              <a:spLocks noChangeArrowheads="1"/>
            </p:cNvSpPr>
            <p:nvPr/>
          </p:nvSpPr>
          <p:spPr bwMode="auto">
            <a:xfrm>
              <a:off x="4832405" y="3331073"/>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89" name="Oval 1642"/>
            <p:cNvSpPr>
              <a:spLocks noChangeArrowheads="1"/>
            </p:cNvSpPr>
            <p:nvPr/>
          </p:nvSpPr>
          <p:spPr bwMode="auto">
            <a:xfrm>
              <a:off x="7072604" y="3922476"/>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90" name="Gerade Verbindung 406"/>
            <p:cNvCxnSpPr/>
            <p:nvPr/>
          </p:nvCxnSpPr>
          <p:spPr>
            <a:xfrm flipV="1">
              <a:off x="7144612" y="3958480"/>
              <a:ext cx="741760" cy="2496"/>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91" name="Oval 1642"/>
            <p:cNvSpPr>
              <a:spLocks noChangeArrowheads="1"/>
            </p:cNvSpPr>
            <p:nvPr/>
          </p:nvSpPr>
          <p:spPr bwMode="auto">
            <a:xfrm>
              <a:off x="5164564" y="359844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2" name="Oval 1642"/>
            <p:cNvSpPr>
              <a:spLocks noChangeArrowheads="1"/>
            </p:cNvSpPr>
            <p:nvPr/>
          </p:nvSpPr>
          <p:spPr bwMode="auto">
            <a:xfrm>
              <a:off x="4948488" y="3256889"/>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3" name="Oval 1642"/>
            <p:cNvSpPr>
              <a:spLocks noChangeArrowheads="1"/>
            </p:cNvSpPr>
            <p:nvPr/>
          </p:nvSpPr>
          <p:spPr bwMode="auto">
            <a:xfrm>
              <a:off x="4624332" y="3596916"/>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4" name="Oval 1642"/>
            <p:cNvSpPr>
              <a:spLocks noChangeArrowheads="1"/>
            </p:cNvSpPr>
            <p:nvPr/>
          </p:nvSpPr>
          <p:spPr bwMode="auto">
            <a:xfrm>
              <a:off x="4894004" y="3266115"/>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5" name="Oval 1642"/>
            <p:cNvSpPr>
              <a:spLocks noChangeArrowheads="1"/>
            </p:cNvSpPr>
            <p:nvPr/>
          </p:nvSpPr>
          <p:spPr bwMode="auto">
            <a:xfrm>
              <a:off x="4835849" y="3209198"/>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6" name="Oval 1642"/>
            <p:cNvSpPr>
              <a:spLocks noChangeArrowheads="1"/>
            </p:cNvSpPr>
            <p:nvPr/>
          </p:nvSpPr>
          <p:spPr bwMode="auto">
            <a:xfrm>
              <a:off x="5198088" y="3442511"/>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7" name="Oval 1642"/>
            <p:cNvSpPr>
              <a:spLocks noChangeArrowheads="1"/>
            </p:cNvSpPr>
            <p:nvPr/>
          </p:nvSpPr>
          <p:spPr bwMode="auto">
            <a:xfrm>
              <a:off x="4895037" y="3311184"/>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cxnSp>
          <p:nvCxnSpPr>
            <p:cNvPr id="998" name="Gewinkelte Verbindung 653"/>
            <p:cNvCxnSpPr/>
            <p:nvPr/>
          </p:nvCxnSpPr>
          <p:spPr>
            <a:xfrm rot="16200000" flipV="1">
              <a:off x="4547009" y="2883509"/>
              <a:ext cx="245119" cy="52902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99" name="Grafik 37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177992" y="3004834"/>
              <a:ext cx="1221142" cy="222799"/>
            </a:xfrm>
            <a:prstGeom prst="rect">
              <a:avLst/>
            </a:prstGeom>
          </p:spPr>
        </p:pic>
        <p:sp>
          <p:nvSpPr>
            <p:cNvPr id="1000" name="Oval 1642"/>
            <p:cNvSpPr>
              <a:spLocks noChangeArrowheads="1"/>
            </p:cNvSpPr>
            <p:nvPr/>
          </p:nvSpPr>
          <p:spPr bwMode="auto">
            <a:xfrm>
              <a:off x="5255452" y="341842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1001" name="Freeform 1491"/>
            <p:cNvSpPr>
              <a:spLocks/>
            </p:cNvSpPr>
            <p:nvPr/>
          </p:nvSpPr>
          <p:spPr bwMode="auto">
            <a:xfrm rot="2187063">
              <a:off x="5317055" y="3198784"/>
              <a:ext cx="312157" cy="224058"/>
            </a:xfrm>
            <a:custGeom>
              <a:avLst/>
              <a:gdLst/>
              <a:ahLst/>
              <a:cxnLst>
                <a:cxn ang="0">
                  <a:pos x="684" y="202"/>
                </a:cxn>
                <a:cxn ang="0">
                  <a:pos x="721" y="231"/>
                </a:cxn>
                <a:cxn ang="0">
                  <a:pos x="762" y="247"/>
                </a:cxn>
                <a:cxn ang="0">
                  <a:pos x="776" y="275"/>
                </a:cxn>
                <a:cxn ang="0">
                  <a:pos x="805" y="299"/>
                </a:cxn>
                <a:cxn ang="0">
                  <a:pos x="805" y="308"/>
                </a:cxn>
                <a:cxn ang="0">
                  <a:pos x="820" y="324"/>
                </a:cxn>
                <a:cxn ang="0">
                  <a:pos x="846" y="345"/>
                </a:cxn>
                <a:cxn ang="0">
                  <a:pos x="854" y="368"/>
                </a:cxn>
                <a:cxn ang="0">
                  <a:pos x="850" y="387"/>
                </a:cxn>
                <a:cxn ang="0">
                  <a:pos x="872" y="425"/>
                </a:cxn>
                <a:cxn ang="0">
                  <a:pos x="881" y="455"/>
                </a:cxn>
                <a:cxn ang="0">
                  <a:pos x="888" y="463"/>
                </a:cxn>
                <a:cxn ang="0">
                  <a:pos x="905" y="491"/>
                </a:cxn>
                <a:cxn ang="0">
                  <a:pos x="1119" y="599"/>
                </a:cxn>
                <a:cxn ang="0">
                  <a:pos x="1119" y="744"/>
                </a:cxn>
                <a:cxn ang="0">
                  <a:pos x="642" y="996"/>
                </a:cxn>
                <a:cxn ang="0">
                  <a:pos x="507" y="912"/>
                </a:cxn>
                <a:cxn ang="0">
                  <a:pos x="477" y="925"/>
                </a:cxn>
                <a:cxn ang="0">
                  <a:pos x="461" y="941"/>
                </a:cxn>
                <a:cxn ang="0">
                  <a:pos x="442" y="944"/>
                </a:cxn>
                <a:cxn ang="0">
                  <a:pos x="426" y="911"/>
                </a:cxn>
                <a:cxn ang="0">
                  <a:pos x="399" y="869"/>
                </a:cxn>
                <a:cxn ang="0">
                  <a:pos x="376" y="844"/>
                </a:cxn>
                <a:cxn ang="0">
                  <a:pos x="359" y="815"/>
                </a:cxn>
                <a:cxn ang="0">
                  <a:pos x="351" y="783"/>
                </a:cxn>
                <a:cxn ang="0">
                  <a:pos x="335" y="760"/>
                </a:cxn>
                <a:cxn ang="0">
                  <a:pos x="317" y="739"/>
                </a:cxn>
                <a:cxn ang="0">
                  <a:pos x="291" y="726"/>
                </a:cxn>
                <a:cxn ang="0">
                  <a:pos x="264" y="708"/>
                </a:cxn>
                <a:cxn ang="0">
                  <a:pos x="251" y="680"/>
                </a:cxn>
                <a:cxn ang="0">
                  <a:pos x="239" y="627"/>
                </a:cxn>
                <a:cxn ang="0">
                  <a:pos x="246" y="604"/>
                </a:cxn>
                <a:cxn ang="0">
                  <a:pos x="233" y="578"/>
                </a:cxn>
                <a:cxn ang="0">
                  <a:pos x="225" y="554"/>
                </a:cxn>
                <a:cxn ang="0">
                  <a:pos x="193" y="506"/>
                </a:cxn>
                <a:cxn ang="0">
                  <a:pos x="178" y="496"/>
                </a:cxn>
                <a:cxn ang="0">
                  <a:pos x="162" y="489"/>
                </a:cxn>
                <a:cxn ang="0">
                  <a:pos x="153" y="481"/>
                </a:cxn>
                <a:cxn ang="0">
                  <a:pos x="141" y="455"/>
                </a:cxn>
                <a:cxn ang="0">
                  <a:pos x="128" y="416"/>
                </a:cxn>
                <a:cxn ang="0">
                  <a:pos x="109" y="395"/>
                </a:cxn>
                <a:cxn ang="0">
                  <a:pos x="87" y="350"/>
                </a:cxn>
                <a:cxn ang="0">
                  <a:pos x="61" y="319"/>
                </a:cxn>
                <a:cxn ang="0">
                  <a:pos x="45" y="288"/>
                </a:cxn>
                <a:cxn ang="0">
                  <a:pos x="17" y="259"/>
                </a:cxn>
                <a:cxn ang="0">
                  <a:pos x="2" y="258"/>
                </a:cxn>
                <a:cxn ang="0">
                  <a:pos x="12" y="211"/>
                </a:cxn>
                <a:cxn ang="0">
                  <a:pos x="17" y="178"/>
                </a:cxn>
                <a:cxn ang="0">
                  <a:pos x="98" y="177"/>
                </a:cxn>
                <a:cxn ang="0">
                  <a:pos x="156" y="142"/>
                </a:cxn>
                <a:cxn ang="0">
                  <a:pos x="185" y="104"/>
                </a:cxn>
                <a:cxn ang="0">
                  <a:pos x="125" y="43"/>
                </a:cxn>
                <a:cxn ang="0">
                  <a:pos x="248" y="0"/>
                </a:cxn>
                <a:cxn ang="0">
                  <a:pos x="450" y="91"/>
                </a:cxn>
                <a:cxn ang="0">
                  <a:pos x="493" y="116"/>
                </a:cxn>
                <a:cxn ang="0">
                  <a:pos x="497" y="162"/>
                </a:cxn>
              </a:cxnLst>
              <a:rect l="0" t="0" r="r" b="b"/>
              <a:pathLst>
                <a:path w="1157" h="996">
                  <a:moveTo>
                    <a:pt x="658" y="195"/>
                  </a:moveTo>
                  <a:lnTo>
                    <a:pt x="662" y="197"/>
                  </a:lnTo>
                  <a:lnTo>
                    <a:pt x="684" y="202"/>
                  </a:lnTo>
                  <a:lnTo>
                    <a:pt x="704" y="209"/>
                  </a:lnTo>
                  <a:lnTo>
                    <a:pt x="711" y="216"/>
                  </a:lnTo>
                  <a:lnTo>
                    <a:pt x="721" y="231"/>
                  </a:lnTo>
                  <a:lnTo>
                    <a:pt x="754" y="231"/>
                  </a:lnTo>
                  <a:lnTo>
                    <a:pt x="758" y="237"/>
                  </a:lnTo>
                  <a:lnTo>
                    <a:pt x="762" y="247"/>
                  </a:lnTo>
                  <a:lnTo>
                    <a:pt x="765" y="251"/>
                  </a:lnTo>
                  <a:lnTo>
                    <a:pt x="766" y="259"/>
                  </a:lnTo>
                  <a:lnTo>
                    <a:pt x="776" y="275"/>
                  </a:lnTo>
                  <a:lnTo>
                    <a:pt x="785" y="277"/>
                  </a:lnTo>
                  <a:lnTo>
                    <a:pt x="791" y="290"/>
                  </a:lnTo>
                  <a:lnTo>
                    <a:pt x="805" y="299"/>
                  </a:lnTo>
                  <a:lnTo>
                    <a:pt x="805" y="301"/>
                  </a:lnTo>
                  <a:lnTo>
                    <a:pt x="802" y="304"/>
                  </a:lnTo>
                  <a:lnTo>
                    <a:pt x="805" y="308"/>
                  </a:lnTo>
                  <a:lnTo>
                    <a:pt x="807" y="318"/>
                  </a:lnTo>
                  <a:lnTo>
                    <a:pt x="817" y="320"/>
                  </a:lnTo>
                  <a:lnTo>
                    <a:pt x="820" y="324"/>
                  </a:lnTo>
                  <a:lnTo>
                    <a:pt x="836" y="335"/>
                  </a:lnTo>
                  <a:lnTo>
                    <a:pt x="843" y="339"/>
                  </a:lnTo>
                  <a:lnTo>
                    <a:pt x="846" y="345"/>
                  </a:lnTo>
                  <a:lnTo>
                    <a:pt x="848" y="347"/>
                  </a:lnTo>
                  <a:lnTo>
                    <a:pt x="845" y="357"/>
                  </a:lnTo>
                  <a:lnTo>
                    <a:pt x="854" y="368"/>
                  </a:lnTo>
                  <a:lnTo>
                    <a:pt x="855" y="376"/>
                  </a:lnTo>
                  <a:lnTo>
                    <a:pt x="855" y="380"/>
                  </a:lnTo>
                  <a:lnTo>
                    <a:pt x="850" y="387"/>
                  </a:lnTo>
                  <a:lnTo>
                    <a:pt x="850" y="399"/>
                  </a:lnTo>
                  <a:lnTo>
                    <a:pt x="857" y="409"/>
                  </a:lnTo>
                  <a:lnTo>
                    <a:pt x="872" y="425"/>
                  </a:lnTo>
                  <a:lnTo>
                    <a:pt x="875" y="443"/>
                  </a:lnTo>
                  <a:lnTo>
                    <a:pt x="881" y="450"/>
                  </a:lnTo>
                  <a:lnTo>
                    <a:pt x="881" y="455"/>
                  </a:lnTo>
                  <a:lnTo>
                    <a:pt x="883" y="458"/>
                  </a:lnTo>
                  <a:lnTo>
                    <a:pt x="886" y="463"/>
                  </a:lnTo>
                  <a:lnTo>
                    <a:pt x="888" y="463"/>
                  </a:lnTo>
                  <a:lnTo>
                    <a:pt x="895" y="475"/>
                  </a:lnTo>
                  <a:lnTo>
                    <a:pt x="902" y="476"/>
                  </a:lnTo>
                  <a:lnTo>
                    <a:pt x="905" y="491"/>
                  </a:lnTo>
                  <a:lnTo>
                    <a:pt x="938" y="520"/>
                  </a:lnTo>
                  <a:lnTo>
                    <a:pt x="954" y="568"/>
                  </a:lnTo>
                  <a:lnTo>
                    <a:pt x="1119" y="599"/>
                  </a:lnTo>
                  <a:lnTo>
                    <a:pt x="1130" y="587"/>
                  </a:lnTo>
                  <a:lnTo>
                    <a:pt x="1157" y="627"/>
                  </a:lnTo>
                  <a:lnTo>
                    <a:pt x="1119" y="744"/>
                  </a:lnTo>
                  <a:lnTo>
                    <a:pt x="954" y="802"/>
                  </a:lnTo>
                  <a:lnTo>
                    <a:pt x="780" y="842"/>
                  </a:lnTo>
                  <a:lnTo>
                    <a:pt x="642" y="996"/>
                  </a:lnTo>
                  <a:lnTo>
                    <a:pt x="642" y="934"/>
                  </a:lnTo>
                  <a:lnTo>
                    <a:pt x="542" y="900"/>
                  </a:lnTo>
                  <a:lnTo>
                    <a:pt x="507" y="912"/>
                  </a:lnTo>
                  <a:lnTo>
                    <a:pt x="485" y="914"/>
                  </a:lnTo>
                  <a:lnTo>
                    <a:pt x="480" y="918"/>
                  </a:lnTo>
                  <a:lnTo>
                    <a:pt x="477" y="925"/>
                  </a:lnTo>
                  <a:lnTo>
                    <a:pt x="468" y="928"/>
                  </a:lnTo>
                  <a:lnTo>
                    <a:pt x="462" y="933"/>
                  </a:lnTo>
                  <a:lnTo>
                    <a:pt x="461" y="941"/>
                  </a:lnTo>
                  <a:lnTo>
                    <a:pt x="456" y="945"/>
                  </a:lnTo>
                  <a:lnTo>
                    <a:pt x="445" y="950"/>
                  </a:lnTo>
                  <a:lnTo>
                    <a:pt x="442" y="944"/>
                  </a:lnTo>
                  <a:lnTo>
                    <a:pt x="442" y="934"/>
                  </a:lnTo>
                  <a:lnTo>
                    <a:pt x="430" y="912"/>
                  </a:lnTo>
                  <a:lnTo>
                    <a:pt x="426" y="911"/>
                  </a:lnTo>
                  <a:lnTo>
                    <a:pt x="422" y="905"/>
                  </a:lnTo>
                  <a:lnTo>
                    <a:pt x="418" y="887"/>
                  </a:lnTo>
                  <a:lnTo>
                    <a:pt x="399" y="869"/>
                  </a:lnTo>
                  <a:lnTo>
                    <a:pt x="392" y="866"/>
                  </a:lnTo>
                  <a:lnTo>
                    <a:pt x="387" y="860"/>
                  </a:lnTo>
                  <a:lnTo>
                    <a:pt x="376" y="844"/>
                  </a:lnTo>
                  <a:lnTo>
                    <a:pt x="365" y="821"/>
                  </a:lnTo>
                  <a:lnTo>
                    <a:pt x="360" y="819"/>
                  </a:lnTo>
                  <a:lnTo>
                    <a:pt x="359" y="815"/>
                  </a:lnTo>
                  <a:lnTo>
                    <a:pt x="355" y="804"/>
                  </a:lnTo>
                  <a:lnTo>
                    <a:pt x="355" y="793"/>
                  </a:lnTo>
                  <a:lnTo>
                    <a:pt x="351" y="783"/>
                  </a:lnTo>
                  <a:lnTo>
                    <a:pt x="345" y="774"/>
                  </a:lnTo>
                  <a:lnTo>
                    <a:pt x="338" y="766"/>
                  </a:lnTo>
                  <a:lnTo>
                    <a:pt x="335" y="760"/>
                  </a:lnTo>
                  <a:lnTo>
                    <a:pt x="330" y="756"/>
                  </a:lnTo>
                  <a:lnTo>
                    <a:pt x="322" y="744"/>
                  </a:lnTo>
                  <a:lnTo>
                    <a:pt x="317" y="739"/>
                  </a:lnTo>
                  <a:lnTo>
                    <a:pt x="302" y="729"/>
                  </a:lnTo>
                  <a:lnTo>
                    <a:pt x="293" y="724"/>
                  </a:lnTo>
                  <a:lnTo>
                    <a:pt x="291" y="726"/>
                  </a:lnTo>
                  <a:lnTo>
                    <a:pt x="285" y="723"/>
                  </a:lnTo>
                  <a:lnTo>
                    <a:pt x="271" y="715"/>
                  </a:lnTo>
                  <a:lnTo>
                    <a:pt x="264" y="708"/>
                  </a:lnTo>
                  <a:lnTo>
                    <a:pt x="260" y="704"/>
                  </a:lnTo>
                  <a:lnTo>
                    <a:pt x="253" y="690"/>
                  </a:lnTo>
                  <a:lnTo>
                    <a:pt x="251" y="680"/>
                  </a:lnTo>
                  <a:lnTo>
                    <a:pt x="243" y="638"/>
                  </a:lnTo>
                  <a:lnTo>
                    <a:pt x="239" y="632"/>
                  </a:lnTo>
                  <a:lnTo>
                    <a:pt x="239" y="627"/>
                  </a:lnTo>
                  <a:lnTo>
                    <a:pt x="242" y="625"/>
                  </a:lnTo>
                  <a:lnTo>
                    <a:pt x="244" y="618"/>
                  </a:lnTo>
                  <a:lnTo>
                    <a:pt x="246" y="604"/>
                  </a:lnTo>
                  <a:lnTo>
                    <a:pt x="241" y="589"/>
                  </a:lnTo>
                  <a:lnTo>
                    <a:pt x="238" y="583"/>
                  </a:lnTo>
                  <a:lnTo>
                    <a:pt x="233" y="578"/>
                  </a:lnTo>
                  <a:lnTo>
                    <a:pt x="231" y="570"/>
                  </a:lnTo>
                  <a:lnTo>
                    <a:pt x="228" y="560"/>
                  </a:lnTo>
                  <a:lnTo>
                    <a:pt x="225" y="554"/>
                  </a:lnTo>
                  <a:lnTo>
                    <a:pt x="220" y="543"/>
                  </a:lnTo>
                  <a:lnTo>
                    <a:pt x="208" y="520"/>
                  </a:lnTo>
                  <a:lnTo>
                    <a:pt x="193" y="506"/>
                  </a:lnTo>
                  <a:lnTo>
                    <a:pt x="183" y="498"/>
                  </a:lnTo>
                  <a:lnTo>
                    <a:pt x="180" y="496"/>
                  </a:lnTo>
                  <a:lnTo>
                    <a:pt x="178" y="496"/>
                  </a:lnTo>
                  <a:lnTo>
                    <a:pt x="177" y="492"/>
                  </a:lnTo>
                  <a:lnTo>
                    <a:pt x="168" y="489"/>
                  </a:lnTo>
                  <a:lnTo>
                    <a:pt x="162" y="489"/>
                  </a:lnTo>
                  <a:lnTo>
                    <a:pt x="160" y="490"/>
                  </a:lnTo>
                  <a:lnTo>
                    <a:pt x="155" y="487"/>
                  </a:lnTo>
                  <a:lnTo>
                    <a:pt x="153" y="481"/>
                  </a:lnTo>
                  <a:lnTo>
                    <a:pt x="149" y="473"/>
                  </a:lnTo>
                  <a:lnTo>
                    <a:pt x="141" y="465"/>
                  </a:lnTo>
                  <a:lnTo>
                    <a:pt x="141" y="455"/>
                  </a:lnTo>
                  <a:lnTo>
                    <a:pt x="142" y="453"/>
                  </a:lnTo>
                  <a:lnTo>
                    <a:pt x="133" y="423"/>
                  </a:lnTo>
                  <a:lnTo>
                    <a:pt x="128" y="416"/>
                  </a:lnTo>
                  <a:lnTo>
                    <a:pt x="120" y="404"/>
                  </a:lnTo>
                  <a:lnTo>
                    <a:pt x="112" y="400"/>
                  </a:lnTo>
                  <a:lnTo>
                    <a:pt x="109" y="395"/>
                  </a:lnTo>
                  <a:lnTo>
                    <a:pt x="108" y="388"/>
                  </a:lnTo>
                  <a:lnTo>
                    <a:pt x="96" y="373"/>
                  </a:lnTo>
                  <a:lnTo>
                    <a:pt x="87" y="350"/>
                  </a:lnTo>
                  <a:lnTo>
                    <a:pt x="81" y="341"/>
                  </a:lnTo>
                  <a:lnTo>
                    <a:pt x="74" y="336"/>
                  </a:lnTo>
                  <a:lnTo>
                    <a:pt x="61" y="319"/>
                  </a:lnTo>
                  <a:lnTo>
                    <a:pt x="60" y="314"/>
                  </a:lnTo>
                  <a:lnTo>
                    <a:pt x="53" y="304"/>
                  </a:lnTo>
                  <a:lnTo>
                    <a:pt x="45" y="288"/>
                  </a:lnTo>
                  <a:lnTo>
                    <a:pt x="32" y="263"/>
                  </a:lnTo>
                  <a:lnTo>
                    <a:pt x="26" y="259"/>
                  </a:lnTo>
                  <a:lnTo>
                    <a:pt x="17" y="259"/>
                  </a:lnTo>
                  <a:lnTo>
                    <a:pt x="9" y="258"/>
                  </a:lnTo>
                  <a:lnTo>
                    <a:pt x="7" y="256"/>
                  </a:lnTo>
                  <a:lnTo>
                    <a:pt x="2" y="258"/>
                  </a:lnTo>
                  <a:lnTo>
                    <a:pt x="0" y="263"/>
                  </a:lnTo>
                  <a:lnTo>
                    <a:pt x="11" y="233"/>
                  </a:lnTo>
                  <a:lnTo>
                    <a:pt x="12" y="211"/>
                  </a:lnTo>
                  <a:lnTo>
                    <a:pt x="13" y="202"/>
                  </a:lnTo>
                  <a:lnTo>
                    <a:pt x="18" y="193"/>
                  </a:lnTo>
                  <a:lnTo>
                    <a:pt x="17" y="178"/>
                  </a:lnTo>
                  <a:lnTo>
                    <a:pt x="20" y="186"/>
                  </a:lnTo>
                  <a:lnTo>
                    <a:pt x="81" y="194"/>
                  </a:lnTo>
                  <a:lnTo>
                    <a:pt x="98" y="177"/>
                  </a:lnTo>
                  <a:lnTo>
                    <a:pt x="99" y="174"/>
                  </a:lnTo>
                  <a:lnTo>
                    <a:pt x="114" y="148"/>
                  </a:lnTo>
                  <a:lnTo>
                    <a:pt x="156" y="142"/>
                  </a:lnTo>
                  <a:lnTo>
                    <a:pt x="157" y="132"/>
                  </a:lnTo>
                  <a:lnTo>
                    <a:pt x="163" y="116"/>
                  </a:lnTo>
                  <a:lnTo>
                    <a:pt x="185" y="104"/>
                  </a:lnTo>
                  <a:lnTo>
                    <a:pt x="187" y="103"/>
                  </a:lnTo>
                  <a:lnTo>
                    <a:pt x="134" y="49"/>
                  </a:lnTo>
                  <a:lnTo>
                    <a:pt x="125" y="43"/>
                  </a:lnTo>
                  <a:lnTo>
                    <a:pt x="166" y="33"/>
                  </a:lnTo>
                  <a:lnTo>
                    <a:pt x="232" y="21"/>
                  </a:lnTo>
                  <a:lnTo>
                    <a:pt x="248" y="0"/>
                  </a:lnTo>
                  <a:lnTo>
                    <a:pt x="332" y="23"/>
                  </a:lnTo>
                  <a:lnTo>
                    <a:pt x="394" y="70"/>
                  </a:lnTo>
                  <a:lnTo>
                    <a:pt x="450" y="91"/>
                  </a:lnTo>
                  <a:lnTo>
                    <a:pt x="456" y="96"/>
                  </a:lnTo>
                  <a:lnTo>
                    <a:pt x="464" y="114"/>
                  </a:lnTo>
                  <a:lnTo>
                    <a:pt x="493" y="116"/>
                  </a:lnTo>
                  <a:lnTo>
                    <a:pt x="495" y="119"/>
                  </a:lnTo>
                  <a:lnTo>
                    <a:pt x="495" y="158"/>
                  </a:lnTo>
                  <a:lnTo>
                    <a:pt x="497" y="162"/>
                  </a:lnTo>
                  <a:lnTo>
                    <a:pt x="560" y="190"/>
                  </a:lnTo>
                  <a:lnTo>
                    <a:pt x="658"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02" name="Oval 1642"/>
            <p:cNvSpPr>
              <a:spLocks noChangeArrowheads="1"/>
            </p:cNvSpPr>
            <p:nvPr/>
          </p:nvSpPr>
          <p:spPr bwMode="auto">
            <a:xfrm>
              <a:off x="5318679" y="3397443"/>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1003" name="Ellipse 1002"/>
            <p:cNvSpPr/>
            <p:nvPr/>
          </p:nvSpPr>
          <p:spPr>
            <a:xfrm>
              <a:off x="5361402" y="3454424"/>
              <a:ext cx="45719" cy="4698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04" name="Picture 112"/>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572365" y="4255617"/>
              <a:ext cx="623614" cy="249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05" name="Gruppieren 1004"/>
            <p:cNvGrpSpPr/>
            <p:nvPr userDrawn="1"/>
          </p:nvGrpSpPr>
          <p:grpSpPr>
            <a:xfrm>
              <a:off x="4238367" y="3479370"/>
              <a:ext cx="1054468" cy="894745"/>
              <a:chOff x="4238367" y="3469845"/>
              <a:chExt cx="1054468" cy="894745"/>
            </a:xfrm>
          </p:grpSpPr>
          <p:cxnSp>
            <p:nvCxnSpPr>
              <p:cNvPr id="1006" name="Gerade Verbindung 1005"/>
              <p:cNvCxnSpPr/>
              <p:nvPr userDrawn="1"/>
            </p:nvCxnSpPr>
            <p:spPr>
              <a:xfrm flipV="1">
                <a:off x="4238367" y="4362722"/>
                <a:ext cx="1050492" cy="70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07" name="Gerade Verbindung 1006"/>
              <p:cNvCxnSpPr/>
              <p:nvPr userDrawn="1"/>
            </p:nvCxnSpPr>
            <p:spPr>
              <a:xfrm>
                <a:off x="5285791" y="3469845"/>
                <a:ext cx="7044" cy="894745"/>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grpSp>
      </p:grpSp>
      <p:sp>
        <p:nvSpPr>
          <p:cNvPr id="363" name="Freeform 1314"/>
          <p:cNvSpPr>
            <a:spLocks/>
          </p:cNvSpPr>
          <p:nvPr/>
        </p:nvSpPr>
        <p:spPr bwMode="auto">
          <a:xfrm>
            <a:off x="4695642" y="4939362"/>
            <a:ext cx="208703" cy="289839"/>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solidFill>
                <a:srgbClr val="00B050"/>
              </a:solidFill>
            </a:endParaRPr>
          </a:p>
        </p:txBody>
      </p:sp>
      <p:sp>
        <p:nvSpPr>
          <p:cNvPr id="364" name="Rechteck 340"/>
          <p:cNvSpPr/>
          <p:nvPr userDrawn="1"/>
        </p:nvSpPr>
        <p:spPr>
          <a:xfrm>
            <a:off x="323528" y="6094054"/>
            <a:ext cx="864096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65" name="Line 13"/>
          <p:cNvSpPr>
            <a:spLocks noChangeShapeType="1"/>
          </p:cNvSpPr>
          <p:nvPr userDrawn="1">
            <p:custDataLst>
              <p:tags r:id="rId2"/>
            </p:custDataLst>
          </p:nvPr>
        </p:nvSpPr>
        <p:spPr bwMode="auto">
          <a:xfrm>
            <a:off x="381578" y="1537742"/>
            <a:ext cx="8507077" cy="0"/>
          </a:xfrm>
          <a:prstGeom prst="line">
            <a:avLst/>
          </a:prstGeom>
          <a:noFill/>
          <a:ln w="38100">
            <a:solidFill>
              <a:schemeClr val="tx1"/>
            </a:solidFill>
            <a:round/>
            <a:headEnd/>
            <a:tailEnd/>
          </a:ln>
          <a:effectLst/>
        </p:spPr>
        <p:txBody>
          <a:bodyPr/>
          <a:lstStyle/>
          <a:p>
            <a:endParaRPr lang="en-US"/>
          </a:p>
        </p:txBody>
      </p:sp>
      <p:sp>
        <p:nvSpPr>
          <p:cNvPr id="366" name="Freeform 1287"/>
          <p:cNvSpPr>
            <a:spLocks/>
          </p:cNvSpPr>
          <p:nvPr userDrawn="1"/>
        </p:nvSpPr>
        <p:spPr bwMode="auto">
          <a:xfrm>
            <a:off x="4479092" y="3741829"/>
            <a:ext cx="80748" cy="185846"/>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67" name="Freeform 1288"/>
          <p:cNvSpPr>
            <a:spLocks/>
          </p:cNvSpPr>
          <p:nvPr userDrawn="1"/>
        </p:nvSpPr>
        <p:spPr bwMode="auto">
          <a:xfrm>
            <a:off x="4825940" y="3893703"/>
            <a:ext cx="225726" cy="241800"/>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68" name="Freeform 1289"/>
          <p:cNvSpPr>
            <a:spLocks/>
          </p:cNvSpPr>
          <p:nvPr userDrawn="1"/>
        </p:nvSpPr>
        <p:spPr bwMode="auto">
          <a:xfrm>
            <a:off x="4600213" y="4095537"/>
            <a:ext cx="216551" cy="361700"/>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69" name="Freeform 1290"/>
          <p:cNvSpPr>
            <a:spLocks/>
          </p:cNvSpPr>
          <p:nvPr userDrawn="1"/>
        </p:nvSpPr>
        <p:spPr bwMode="auto">
          <a:xfrm>
            <a:off x="5066348" y="4219434"/>
            <a:ext cx="132133" cy="129892"/>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0" name="Freeform 1291"/>
          <p:cNvSpPr>
            <a:spLocks/>
          </p:cNvSpPr>
          <p:nvPr userDrawn="1"/>
        </p:nvSpPr>
        <p:spPr bwMode="auto">
          <a:xfrm>
            <a:off x="4159772" y="3747824"/>
            <a:ext cx="407408" cy="451626"/>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1" name="Freeform 1292"/>
          <p:cNvSpPr>
            <a:spLocks/>
          </p:cNvSpPr>
          <p:nvPr userDrawn="1"/>
        </p:nvSpPr>
        <p:spPr bwMode="auto">
          <a:xfrm>
            <a:off x="5174624" y="4339336"/>
            <a:ext cx="29362" cy="41965"/>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2" name="Freeform 1293"/>
          <p:cNvSpPr>
            <a:spLocks/>
          </p:cNvSpPr>
          <p:nvPr userDrawn="1"/>
        </p:nvSpPr>
        <p:spPr bwMode="auto">
          <a:xfrm>
            <a:off x="3990935" y="4003613"/>
            <a:ext cx="242243" cy="291758"/>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3" name="Freeform 1294"/>
          <p:cNvSpPr>
            <a:spLocks/>
          </p:cNvSpPr>
          <p:nvPr userDrawn="1"/>
        </p:nvSpPr>
        <p:spPr bwMode="auto">
          <a:xfrm>
            <a:off x="4071682" y="3781797"/>
            <a:ext cx="240408" cy="209827"/>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4" name="Freeform 1295"/>
          <p:cNvSpPr>
            <a:spLocks/>
          </p:cNvSpPr>
          <p:nvPr userDrawn="1"/>
        </p:nvSpPr>
        <p:spPr bwMode="auto">
          <a:xfrm>
            <a:off x="5158107" y="4359318"/>
            <a:ext cx="205540" cy="295756"/>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5" name="Freeform 1296"/>
          <p:cNvSpPr>
            <a:spLocks/>
          </p:cNvSpPr>
          <p:nvPr userDrawn="1"/>
        </p:nvSpPr>
        <p:spPr bwMode="auto">
          <a:xfrm>
            <a:off x="4772721" y="4103531"/>
            <a:ext cx="332167" cy="437637"/>
          </a:xfrm>
          <a:custGeom>
            <a:avLst/>
            <a:gdLst/>
            <a:ahLst/>
            <a:cxnLst>
              <a:cxn ang="0">
                <a:pos x="118" y="375"/>
              </a:cxn>
              <a:cxn ang="0">
                <a:pos x="72" y="426"/>
              </a:cxn>
              <a:cxn ang="0">
                <a:pos x="55" y="449"/>
              </a:cxn>
              <a:cxn ang="0">
                <a:pos x="23" y="508"/>
              </a:cxn>
              <a:cxn ang="0">
                <a:pos x="14" y="527"/>
              </a:cxn>
              <a:cxn ang="0">
                <a:pos x="7" y="564"/>
              </a:cxn>
              <a:cxn ang="0">
                <a:pos x="3" y="596"/>
              </a:cxn>
              <a:cxn ang="0">
                <a:pos x="28" y="623"/>
              </a:cxn>
              <a:cxn ang="0">
                <a:pos x="51" y="667"/>
              </a:cxn>
              <a:cxn ang="0">
                <a:pos x="55" y="703"/>
              </a:cxn>
              <a:cxn ang="0">
                <a:pos x="88" y="777"/>
              </a:cxn>
              <a:cxn ang="0">
                <a:pos x="109" y="817"/>
              </a:cxn>
              <a:cxn ang="0">
                <a:pos x="161" y="840"/>
              </a:cxn>
              <a:cxn ang="0">
                <a:pos x="179" y="869"/>
              </a:cxn>
              <a:cxn ang="0">
                <a:pos x="229" y="914"/>
              </a:cxn>
              <a:cxn ang="0">
                <a:pos x="256" y="950"/>
              </a:cxn>
              <a:cxn ang="0">
                <a:pos x="303" y="993"/>
              </a:cxn>
              <a:cxn ang="0">
                <a:pos x="329" y="1031"/>
              </a:cxn>
              <a:cxn ang="0">
                <a:pos x="369" y="1055"/>
              </a:cxn>
              <a:cxn ang="0">
                <a:pos x="426" y="1042"/>
              </a:cxn>
              <a:cxn ang="0">
                <a:pos x="484" y="1091"/>
              </a:cxn>
              <a:cxn ang="0">
                <a:pos x="517" y="1090"/>
              </a:cxn>
              <a:cxn ang="0">
                <a:pos x="556" y="1097"/>
              </a:cxn>
              <a:cxn ang="0">
                <a:pos x="616" y="1089"/>
              </a:cxn>
              <a:cxn ang="0">
                <a:pos x="662" y="1071"/>
              </a:cxn>
              <a:cxn ang="0">
                <a:pos x="731" y="1046"/>
              </a:cxn>
              <a:cxn ang="0">
                <a:pos x="767" y="1011"/>
              </a:cxn>
              <a:cxn ang="0">
                <a:pos x="727" y="988"/>
              </a:cxn>
              <a:cxn ang="0">
                <a:pos x="702" y="930"/>
              </a:cxn>
              <a:cxn ang="0">
                <a:pos x="665" y="891"/>
              </a:cxn>
              <a:cxn ang="0">
                <a:pos x="629" y="874"/>
              </a:cxn>
              <a:cxn ang="0">
                <a:pos x="614" y="855"/>
              </a:cxn>
              <a:cxn ang="0">
                <a:pos x="652" y="834"/>
              </a:cxn>
              <a:cxn ang="0">
                <a:pos x="672" y="763"/>
              </a:cxn>
              <a:cxn ang="0">
                <a:pos x="676" y="719"/>
              </a:cxn>
              <a:cxn ang="0">
                <a:pos x="697" y="697"/>
              </a:cxn>
              <a:cxn ang="0">
                <a:pos x="723" y="651"/>
              </a:cxn>
              <a:cxn ang="0">
                <a:pos x="783" y="582"/>
              </a:cxn>
              <a:cxn ang="0">
                <a:pos x="798" y="473"/>
              </a:cxn>
              <a:cxn ang="0">
                <a:pos x="821" y="387"/>
              </a:cxn>
              <a:cxn ang="0">
                <a:pos x="842" y="348"/>
              </a:cxn>
              <a:cxn ang="0">
                <a:pos x="885" y="323"/>
              </a:cxn>
              <a:cxn ang="0">
                <a:pos x="904" y="284"/>
              </a:cxn>
              <a:cxn ang="0">
                <a:pos x="887" y="270"/>
              </a:cxn>
              <a:cxn ang="0">
                <a:pos x="852" y="252"/>
              </a:cxn>
              <a:cxn ang="0">
                <a:pos x="837" y="157"/>
              </a:cxn>
              <a:cxn ang="0">
                <a:pos x="821" y="94"/>
              </a:cxn>
              <a:cxn ang="0">
                <a:pos x="798" y="44"/>
              </a:cxn>
              <a:cxn ang="0">
                <a:pos x="749" y="0"/>
              </a:cxn>
              <a:cxn ang="0">
                <a:pos x="672" y="53"/>
              </a:cxn>
              <a:cxn ang="0">
                <a:pos x="522" y="65"/>
              </a:cxn>
              <a:cxn ang="0">
                <a:pos x="519" y="53"/>
              </a:cxn>
              <a:cxn ang="0">
                <a:pos x="379" y="65"/>
              </a:cxn>
              <a:cxn ang="0">
                <a:pos x="170" y="65"/>
              </a:cxn>
              <a:cxn ang="0">
                <a:pos x="118" y="210"/>
              </a:cxn>
            </a:cxnLst>
            <a:rect l="0" t="0" r="r" b="b"/>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6" name="Freeform 1297"/>
          <p:cNvSpPr>
            <a:spLocks/>
          </p:cNvSpPr>
          <p:nvPr userDrawn="1"/>
        </p:nvSpPr>
        <p:spPr bwMode="auto">
          <a:xfrm>
            <a:off x="4334113" y="4091540"/>
            <a:ext cx="319321" cy="271776"/>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7" name="Freeform 1298"/>
          <p:cNvSpPr>
            <a:spLocks/>
          </p:cNvSpPr>
          <p:nvPr userDrawn="1"/>
        </p:nvSpPr>
        <p:spPr bwMode="auto">
          <a:xfrm>
            <a:off x="4996612" y="4293374"/>
            <a:ext cx="302804" cy="249793"/>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9" name="Freeform 1299"/>
          <p:cNvSpPr>
            <a:spLocks/>
          </p:cNvSpPr>
          <p:nvPr userDrawn="1"/>
        </p:nvSpPr>
        <p:spPr bwMode="auto">
          <a:xfrm>
            <a:off x="4515796" y="3853736"/>
            <a:ext cx="319321" cy="333724"/>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0" name="Freeform 1300"/>
          <p:cNvSpPr>
            <a:spLocks/>
          </p:cNvSpPr>
          <p:nvPr userDrawn="1"/>
        </p:nvSpPr>
        <p:spPr bwMode="auto">
          <a:xfrm>
            <a:off x="4088200" y="4057569"/>
            <a:ext cx="326661" cy="339719"/>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1" name="Freeform 1301"/>
          <p:cNvSpPr>
            <a:spLocks/>
          </p:cNvSpPr>
          <p:nvPr userDrawn="1"/>
        </p:nvSpPr>
        <p:spPr bwMode="auto">
          <a:xfrm>
            <a:off x="3990935" y="3991623"/>
            <a:ext cx="168836" cy="159868"/>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2" name="Freeform 1302"/>
          <p:cNvSpPr>
            <a:spLocks/>
          </p:cNvSpPr>
          <p:nvPr userDrawn="1"/>
        </p:nvSpPr>
        <p:spPr bwMode="auto">
          <a:xfrm>
            <a:off x="4952567" y="5200623"/>
            <a:ext cx="23858" cy="35970"/>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6" name="Freeform 1303"/>
          <p:cNvSpPr>
            <a:spLocks/>
          </p:cNvSpPr>
          <p:nvPr userDrawn="1"/>
        </p:nvSpPr>
        <p:spPr bwMode="auto">
          <a:xfrm>
            <a:off x="4662609" y="5112697"/>
            <a:ext cx="330332" cy="315739"/>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7" name="Freeform 1304"/>
          <p:cNvSpPr>
            <a:spLocks/>
          </p:cNvSpPr>
          <p:nvPr userDrawn="1"/>
        </p:nvSpPr>
        <p:spPr bwMode="auto">
          <a:xfrm>
            <a:off x="4991106" y="4824933"/>
            <a:ext cx="64231" cy="173856"/>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8" name="Freeform 1305"/>
          <p:cNvSpPr>
            <a:spLocks/>
          </p:cNvSpPr>
          <p:nvPr userDrawn="1"/>
        </p:nvSpPr>
        <p:spPr bwMode="auto">
          <a:xfrm>
            <a:off x="5200316" y="4886883"/>
            <a:ext cx="143143" cy="311743"/>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9" name="Freeform 1307"/>
          <p:cNvSpPr>
            <a:spLocks/>
          </p:cNvSpPr>
          <p:nvPr userDrawn="1"/>
        </p:nvSpPr>
        <p:spPr bwMode="auto">
          <a:xfrm>
            <a:off x="4565344" y="4746997"/>
            <a:ext cx="253254" cy="27177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9" name="Freeform 1308"/>
          <p:cNvSpPr>
            <a:spLocks/>
          </p:cNvSpPr>
          <p:nvPr userDrawn="1"/>
        </p:nvSpPr>
        <p:spPr bwMode="auto">
          <a:xfrm>
            <a:off x="4572686" y="4717022"/>
            <a:ext cx="20187" cy="31974"/>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3" name="Freeform 1309"/>
          <p:cNvSpPr>
            <a:spLocks/>
          </p:cNvSpPr>
          <p:nvPr userDrawn="1"/>
        </p:nvSpPr>
        <p:spPr bwMode="auto">
          <a:xfrm>
            <a:off x="4877325" y="5268567"/>
            <a:ext cx="45879" cy="51957"/>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4" name="Freeform 1310"/>
          <p:cNvSpPr>
            <a:spLocks/>
          </p:cNvSpPr>
          <p:nvPr userDrawn="1"/>
        </p:nvSpPr>
        <p:spPr bwMode="auto">
          <a:xfrm>
            <a:off x="4774555" y="4798956"/>
            <a:ext cx="234903" cy="219819"/>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8" name="Freeform 1311"/>
          <p:cNvSpPr>
            <a:spLocks/>
          </p:cNvSpPr>
          <p:nvPr userDrawn="1"/>
        </p:nvSpPr>
        <p:spPr bwMode="auto">
          <a:xfrm>
            <a:off x="4838786" y="4964818"/>
            <a:ext cx="155990" cy="161866"/>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9" name="Freeform 1312"/>
          <p:cNvSpPr>
            <a:spLocks/>
          </p:cNvSpPr>
          <p:nvPr userDrawn="1"/>
        </p:nvSpPr>
        <p:spPr bwMode="auto">
          <a:xfrm>
            <a:off x="4565345" y="4992795"/>
            <a:ext cx="269771" cy="289761"/>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5" name="Freeform 1313"/>
          <p:cNvSpPr>
            <a:spLocks/>
          </p:cNvSpPr>
          <p:nvPr userDrawn="1"/>
        </p:nvSpPr>
        <p:spPr bwMode="auto">
          <a:xfrm>
            <a:off x="4936051" y="4850912"/>
            <a:ext cx="214716" cy="373691"/>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6" name="Freeform 1314"/>
          <p:cNvSpPr>
            <a:spLocks/>
          </p:cNvSpPr>
          <p:nvPr userDrawn="1"/>
        </p:nvSpPr>
        <p:spPr bwMode="auto">
          <a:xfrm>
            <a:off x="4730511" y="5012779"/>
            <a:ext cx="190858" cy="21382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7" name="Freeform 1315"/>
          <p:cNvSpPr>
            <a:spLocks/>
          </p:cNvSpPr>
          <p:nvPr userDrawn="1"/>
        </p:nvSpPr>
        <p:spPr bwMode="auto">
          <a:xfrm>
            <a:off x="4029473" y="4341334"/>
            <a:ext cx="148649" cy="121899"/>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8" name="Freeform 1316"/>
          <p:cNvSpPr>
            <a:spLocks/>
          </p:cNvSpPr>
          <p:nvPr userDrawn="1"/>
        </p:nvSpPr>
        <p:spPr bwMode="auto">
          <a:xfrm>
            <a:off x="4622235" y="4377305"/>
            <a:ext cx="264265" cy="181849"/>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9" name="Freeform 1317"/>
          <p:cNvSpPr>
            <a:spLocks/>
          </p:cNvSpPr>
          <p:nvPr userDrawn="1"/>
        </p:nvSpPr>
        <p:spPr bwMode="auto">
          <a:xfrm>
            <a:off x="4508455" y="4569145"/>
            <a:ext cx="111946" cy="137886"/>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0" name="Freeform 1318"/>
          <p:cNvSpPr>
            <a:spLocks/>
          </p:cNvSpPr>
          <p:nvPr userDrawn="1"/>
        </p:nvSpPr>
        <p:spPr bwMode="auto">
          <a:xfrm>
            <a:off x="3992770" y="4315356"/>
            <a:ext cx="62396" cy="17985"/>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1" name="Freeform 1319"/>
          <p:cNvSpPr>
            <a:spLocks/>
          </p:cNvSpPr>
          <p:nvPr userDrawn="1"/>
        </p:nvSpPr>
        <p:spPr bwMode="auto">
          <a:xfrm>
            <a:off x="3994605" y="4341334"/>
            <a:ext cx="64231" cy="37969"/>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2" name="Freeform 1320"/>
          <p:cNvSpPr>
            <a:spLocks/>
          </p:cNvSpPr>
          <p:nvPr userDrawn="1"/>
        </p:nvSpPr>
        <p:spPr bwMode="auto">
          <a:xfrm>
            <a:off x="4101046" y="4433258"/>
            <a:ext cx="82583" cy="91924"/>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3" name="Freeform 1321"/>
          <p:cNvSpPr>
            <a:spLocks/>
          </p:cNvSpPr>
          <p:nvPr userDrawn="1"/>
        </p:nvSpPr>
        <p:spPr bwMode="auto">
          <a:xfrm>
            <a:off x="4268047" y="4375306"/>
            <a:ext cx="89923" cy="143881"/>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4" name="Freeform 1322"/>
          <p:cNvSpPr>
            <a:spLocks/>
          </p:cNvSpPr>
          <p:nvPr userDrawn="1"/>
        </p:nvSpPr>
        <p:spPr bwMode="auto">
          <a:xfrm>
            <a:off x="4385497" y="4315356"/>
            <a:ext cx="236738" cy="21382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5" name="Freeform 1323"/>
          <p:cNvSpPr>
            <a:spLocks/>
          </p:cNvSpPr>
          <p:nvPr userDrawn="1"/>
        </p:nvSpPr>
        <p:spPr bwMode="auto">
          <a:xfrm>
            <a:off x="4554335" y="4539171"/>
            <a:ext cx="154155" cy="191841"/>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6" name="Freeform 1324"/>
          <p:cNvSpPr>
            <a:spLocks/>
          </p:cNvSpPr>
          <p:nvPr userDrawn="1"/>
        </p:nvSpPr>
        <p:spPr bwMode="auto">
          <a:xfrm>
            <a:off x="4519466" y="4571143"/>
            <a:ext cx="38538" cy="27976"/>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7" name="Freeform 1325"/>
          <p:cNvSpPr>
            <a:spLocks/>
          </p:cNvSpPr>
          <p:nvPr userDrawn="1"/>
        </p:nvSpPr>
        <p:spPr bwMode="auto">
          <a:xfrm>
            <a:off x="4919534" y="4671061"/>
            <a:ext cx="33032" cy="43964"/>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8" name="Freeform 1326"/>
          <p:cNvSpPr>
            <a:spLocks/>
          </p:cNvSpPr>
          <p:nvPr userDrawn="1"/>
        </p:nvSpPr>
        <p:spPr bwMode="auto">
          <a:xfrm>
            <a:off x="4930545" y="4529178"/>
            <a:ext cx="106440" cy="121899"/>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9" name="Freeform 1327"/>
          <p:cNvSpPr>
            <a:spLocks/>
          </p:cNvSpPr>
          <p:nvPr userDrawn="1"/>
        </p:nvSpPr>
        <p:spPr bwMode="auto">
          <a:xfrm>
            <a:off x="4227672" y="4289376"/>
            <a:ext cx="152320" cy="123898"/>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0" name="Freeform 1328"/>
          <p:cNvSpPr>
            <a:spLocks/>
          </p:cNvSpPr>
          <p:nvPr userDrawn="1"/>
        </p:nvSpPr>
        <p:spPr bwMode="auto">
          <a:xfrm>
            <a:off x="4915864" y="4643085"/>
            <a:ext cx="38538" cy="37969"/>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1" name="Freeform 1329"/>
          <p:cNvSpPr>
            <a:spLocks/>
          </p:cNvSpPr>
          <p:nvPr userDrawn="1"/>
        </p:nvSpPr>
        <p:spPr bwMode="auto">
          <a:xfrm>
            <a:off x="5014964" y="4519186"/>
            <a:ext cx="159660" cy="201834"/>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2" name="Freeform 1330"/>
          <p:cNvSpPr>
            <a:spLocks/>
          </p:cNvSpPr>
          <p:nvPr userDrawn="1"/>
        </p:nvSpPr>
        <p:spPr bwMode="auto">
          <a:xfrm>
            <a:off x="3979924" y="4251407"/>
            <a:ext cx="124793" cy="9791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3" name="Freeform 1331"/>
          <p:cNvSpPr>
            <a:spLocks/>
          </p:cNvSpPr>
          <p:nvPr userDrawn="1"/>
        </p:nvSpPr>
        <p:spPr bwMode="auto">
          <a:xfrm>
            <a:off x="4928710" y="4641087"/>
            <a:ext cx="220221" cy="23580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4" name="Freeform 1332"/>
          <p:cNvSpPr>
            <a:spLocks/>
          </p:cNvSpPr>
          <p:nvPr userDrawn="1"/>
        </p:nvSpPr>
        <p:spPr bwMode="auto">
          <a:xfrm>
            <a:off x="4064342" y="4401283"/>
            <a:ext cx="60560" cy="65946"/>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5" name="Freeform 1333"/>
          <p:cNvSpPr>
            <a:spLocks/>
          </p:cNvSpPr>
          <p:nvPr userDrawn="1"/>
        </p:nvSpPr>
        <p:spPr bwMode="auto">
          <a:xfrm>
            <a:off x="4159772" y="4385298"/>
            <a:ext cx="122957" cy="139884"/>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6" name="Freeform 1334"/>
          <p:cNvSpPr>
            <a:spLocks/>
          </p:cNvSpPr>
          <p:nvPr userDrawn="1"/>
        </p:nvSpPr>
        <p:spPr bwMode="auto">
          <a:xfrm>
            <a:off x="4328607" y="4375305"/>
            <a:ext cx="44044" cy="113906"/>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7" name="Freeform 1335"/>
          <p:cNvSpPr>
            <a:spLocks/>
          </p:cNvSpPr>
          <p:nvPr userDrawn="1"/>
        </p:nvSpPr>
        <p:spPr bwMode="auto">
          <a:xfrm>
            <a:off x="4501114" y="4339336"/>
            <a:ext cx="154155" cy="245797"/>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8" name="Freeform 1336"/>
          <p:cNvSpPr>
            <a:spLocks/>
          </p:cNvSpPr>
          <p:nvPr userDrawn="1"/>
        </p:nvSpPr>
        <p:spPr bwMode="auto">
          <a:xfrm>
            <a:off x="4346959" y="4347328"/>
            <a:ext cx="60560" cy="135888"/>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9" name="Freeform 1337"/>
          <p:cNvSpPr>
            <a:spLocks/>
          </p:cNvSpPr>
          <p:nvPr userDrawn="1"/>
        </p:nvSpPr>
        <p:spPr bwMode="auto">
          <a:xfrm>
            <a:off x="4578191" y="4505199"/>
            <a:ext cx="383551" cy="407663"/>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0" name="Freeform 1339"/>
          <p:cNvSpPr>
            <a:spLocks/>
          </p:cNvSpPr>
          <p:nvPr userDrawn="1"/>
        </p:nvSpPr>
        <p:spPr bwMode="auto">
          <a:xfrm>
            <a:off x="2852320" y="5953839"/>
            <a:ext cx="42160" cy="53970"/>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1" name="Freeform 1340"/>
          <p:cNvSpPr>
            <a:spLocks/>
          </p:cNvSpPr>
          <p:nvPr userDrawn="1"/>
        </p:nvSpPr>
        <p:spPr bwMode="auto">
          <a:xfrm>
            <a:off x="2857819" y="4352735"/>
            <a:ext cx="271290" cy="251859"/>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2" name="Freeform 1341"/>
          <p:cNvSpPr>
            <a:spLocks/>
          </p:cNvSpPr>
          <p:nvPr userDrawn="1"/>
        </p:nvSpPr>
        <p:spPr bwMode="auto">
          <a:xfrm>
            <a:off x="2705677" y="4592600"/>
            <a:ext cx="113648" cy="137922"/>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3" name="Freeform 1342"/>
          <p:cNvSpPr>
            <a:spLocks/>
          </p:cNvSpPr>
          <p:nvPr userDrawn="1"/>
        </p:nvSpPr>
        <p:spPr bwMode="auto">
          <a:xfrm>
            <a:off x="3070451" y="5048346"/>
            <a:ext cx="168640" cy="195891"/>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4" name="Freeform 1343"/>
          <p:cNvSpPr>
            <a:spLocks/>
          </p:cNvSpPr>
          <p:nvPr userDrawn="1"/>
        </p:nvSpPr>
        <p:spPr bwMode="auto">
          <a:xfrm>
            <a:off x="2811993" y="5008368"/>
            <a:ext cx="170473" cy="1011435"/>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1" name="Freeform 1344"/>
          <p:cNvSpPr>
            <a:spLocks/>
          </p:cNvSpPr>
          <p:nvPr userDrawn="1"/>
        </p:nvSpPr>
        <p:spPr bwMode="auto">
          <a:xfrm>
            <a:off x="2896312" y="5969830"/>
            <a:ext cx="56825" cy="939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3" name="Freeform 1345"/>
          <p:cNvSpPr>
            <a:spLocks/>
          </p:cNvSpPr>
          <p:nvPr userDrawn="1"/>
        </p:nvSpPr>
        <p:spPr bwMode="auto">
          <a:xfrm>
            <a:off x="3319744" y="4610589"/>
            <a:ext cx="10998" cy="9994"/>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3" name="Freeform 1346"/>
          <p:cNvSpPr>
            <a:spLocks/>
          </p:cNvSpPr>
          <p:nvPr userDrawn="1"/>
        </p:nvSpPr>
        <p:spPr bwMode="auto">
          <a:xfrm>
            <a:off x="3332576" y="4620584"/>
            <a:ext cx="7332" cy="3998"/>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4" name="Freeform 1347"/>
          <p:cNvSpPr>
            <a:spLocks/>
          </p:cNvSpPr>
          <p:nvPr userDrawn="1"/>
        </p:nvSpPr>
        <p:spPr bwMode="auto">
          <a:xfrm>
            <a:off x="3316078" y="4624583"/>
            <a:ext cx="42160" cy="33981"/>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9" name="Freeform 1348"/>
          <p:cNvSpPr>
            <a:spLocks/>
          </p:cNvSpPr>
          <p:nvPr userDrawn="1"/>
        </p:nvSpPr>
        <p:spPr bwMode="auto">
          <a:xfrm>
            <a:off x="3303248" y="4620585"/>
            <a:ext cx="12832" cy="15991"/>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72" name="Freeform 1349"/>
          <p:cNvSpPr>
            <a:spLocks/>
          </p:cNvSpPr>
          <p:nvPr userDrawn="1"/>
        </p:nvSpPr>
        <p:spPr bwMode="auto">
          <a:xfrm>
            <a:off x="3325244" y="4610590"/>
            <a:ext cx="1833" cy="1999"/>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75" name="Freeform 1350"/>
          <p:cNvSpPr>
            <a:spLocks/>
          </p:cNvSpPr>
          <p:nvPr userDrawn="1"/>
        </p:nvSpPr>
        <p:spPr bwMode="auto">
          <a:xfrm>
            <a:off x="3317912" y="4620585"/>
            <a:ext cx="3666" cy="1999"/>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2" name="Freeform 1351"/>
          <p:cNvSpPr>
            <a:spLocks/>
          </p:cNvSpPr>
          <p:nvPr userDrawn="1"/>
        </p:nvSpPr>
        <p:spPr bwMode="auto">
          <a:xfrm>
            <a:off x="2846822" y="4506647"/>
            <a:ext cx="782707" cy="895500"/>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3" name="Freeform 1352"/>
          <p:cNvSpPr>
            <a:spLocks/>
          </p:cNvSpPr>
          <p:nvPr userDrawn="1"/>
        </p:nvSpPr>
        <p:spPr bwMode="auto">
          <a:xfrm>
            <a:off x="2744170" y="4346738"/>
            <a:ext cx="241962" cy="363797"/>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4" name="Freeform 1353"/>
          <p:cNvSpPr>
            <a:spLocks/>
          </p:cNvSpPr>
          <p:nvPr userDrawn="1"/>
        </p:nvSpPr>
        <p:spPr bwMode="auto">
          <a:xfrm>
            <a:off x="2929307" y="4830467"/>
            <a:ext cx="241962" cy="30183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5" name="Freeform 1354"/>
          <p:cNvSpPr>
            <a:spLocks/>
          </p:cNvSpPr>
          <p:nvPr userDrawn="1"/>
        </p:nvSpPr>
        <p:spPr bwMode="auto">
          <a:xfrm>
            <a:off x="3154771" y="5308201"/>
            <a:ext cx="108150" cy="125929"/>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6" name="Freeform 1355"/>
          <p:cNvSpPr>
            <a:spLocks/>
          </p:cNvSpPr>
          <p:nvPr userDrawn="1"/>
        </p:nvSpPr>
        <p:spPr bwMode="auto">
          <a:xfrm>
            <a:off x="3099781" y="4438685"/>
            <a:ext cx="97151" cy="153914"/>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7" name="Freeform 1356"/>
          <p:cNvSpPr>
            <a:spLocks/>
          </p:cNvSpPr>
          <p:nvPr userDrawn="1"/>
        </p:nvSpPr>
        <p:spPr bwMode="auto">
          <a:xfrm>
            <a:off x="3237257" y="4496653"/>
            <a:ext cx="58657" cy="79956"/>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8" name="Freeform 1357"/>
          <p:cNvSpPr>
            <a:spLocks/>
          </p:cNvSpPr>
          <p:nvPr userDrawn="1"/>
        </p:nvSpPr>
        <p:spPr bwMode="auto">
          <a:xfrm>
            <a:off x="2696512" y="4622583"/>
            <a:ext cx="251126" cy="401775"/>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9" name="Freeform 1358"/>
          <p:cNvSpPr>
            <a:spLocks/>
          </p:cNvSpPr>
          <p:nvPr userDrawn="1"/>
        </p:nvSpPr>
        <p:spPr bwMode="auto">
          <a:xfrm>
            <a:off x="2855986" y="5106313"/>
            <a:ext cx="395936" cy="857521"/>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0" name="Freeform 1359"/>
          <p:cNvSpPr>
            <a:spLocks/>
          </p:cNvSpPr>
          <p:nvPr userDrawn="1"/>
        </p:nvSpPr>
        <p:spPr bwMode="auto">
          <a:xfrm>
            <a:off x="2951303" y="5975828"/>
            <a:ext cx="69655" cy="89949"/>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1" name="Freeform 1360"/>
          <p:cNvSpPr>
            <a:spLocks/>
          </p:cNvSpPr>
          <p:nvPr userDrawn="1"/>
        </p:nvSpPr>
        <p:spPr bwMode="auto">
          <a:xfrm>
            <a:off x="3163936" y="4490657"/>
            <a:ext cx="82487" cy="89949"/>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2" name="Freeform 1363"/>
          <p:cNvSpPr>
            <a:spLocks/>
          </p:cNvSpPr>
          <p:nvPr userDrawn="1"/>
        </p:nvSpPr>
        <p:spPr bwMode="auto">
          <a:xfrm>
            <a:off x="2569764" y="4289575"/>
            <a:ext cx="86214" cy="93961"/>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3" name="Freeform 1364"/>
          <p:cNvSpPr>
            <a:spLocks/>
          </p:cNvSpPr>
          <p:nvPr userDrawn="1"/>
        </p:nvSpPr>
        <p:spPr bwMode="auto">
          <a:xfrm>
            <a:off x="2661481" y="4409524"/>
            <a:ext cx="117399" cy="53978"/>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4" name="Freeform 1365"/>
          <p:cNvSpPr>
            <a:spLocks/>
          </p:cNvSpPr>
          <p:nvPr userDrawn="1"/>
        </p:nvSpPr>
        <p:spPr bwMode="auto">
          <a:xfrm>
            <a:off x="2476211" y="4225602"/>
            <a:ext cx="78878" cy="93961"/>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5" name="Freeform 1366"/>
          <p:cNvSpPr>
            <a:spLocks/>
          </p:cNvSpPr>
          <p:nvPr userDrawn="1"/>
        </p:nvSpPr>
        <p:spPr bwMode="auto">
          <a:xfrm>
            <a:off x="2536745" y="4211607"/>
            <a:ext cx="22013" cy="57975"/>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6" name="Freeform 1367"/>
          <p:cNvSpPr>
            <a:spLocks/>
          </p:cNvSpPr>
          <p:nvPr userDrawn="1"/>
        </p:nvSpPr>
        <p:spPr bwMode="auto">
          <a:xfrm>
            <a:off x="2520236" y="4303568"/>
            <a:ext cx="45859" cy="27988"/>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7" name="Freeform 1368"/>
          <p:cNvSpPr>
            <a:spLocks/>
          </p:cNvSpPr>
          <p:nvPr userDrawn="1"/>
        </p:nvSpPr>
        <p:spPr bwMode="auto">
          <a:xfrm>
            <a:off x="2604616" y="4375539"/>
            <a:ext cx="66038" cy="63973"/>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8" name="Freeform 1369"/>
          <p:cNvSpPr>
            <a:spLocks/>
          </p:cNvSpPr>
          <p:nvPr userDrawn="1"/>
        </p:nvSpPr>
        <p:spPr bwMode="auto">
          <a:xfrm>
            <a:off x="2533076" y="4267582"/>
            <a:ext cx="122902" cy="67972"/>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9" name="Freeform 1371"/>
          <p:cNvSpPr>
            <a:spLocks/>
          </p:cNvSpPr>
          <p:nvPr userDrawn="1"/>
        </p:nvSpPr>
        <p:spPr bwMode="auto">
          <a:xfrm>
            <a:off x="2887108" y="4177620"/>
            <a:ext cx="69705" cy="51978"/>
          </a:xfrm>
          <a:custGeom>
            <a:avLst/>
            <a:gdLst/>
            <a:ahLst/>
            <a:cxnLst>
              <a:cxn ang="0">
                <a:pos x="5" y="2"/>
              </a:cxn>
              <a:cxn ang="0">
                <a:pos x="20" y="0"/>
              </a:cxn>
              <a:cxn ang="0">
                <a:pos x="60" y="1"/>
              </a:cxn>
              <a:cxn ang="0">
                <a:pos x="89" y="13"/>
              </a:cxn>
              <a:cxn ang="0">
                <a:pos x="108" y="20"/>
              </a:cxn>
              <a:cxn ang="0">
                <a:pos x="113" y="32"/>
              </a:cxn>
              <a:cxn ang="0">
                <a:pos x="141" y="33"/>
              </a:cxn>
              <a:cxn ang="0">
                <a:pos x="145" y="39"/>
              </a:cxn>
              <a:cxn ang="0">
                <a:pos x="127" y="43"/>
              </a:cxn>
              <a:cxn ang="0">
                <a:pos x="140" y="52"/>
              </a:cxn>
              <a:cxn ang="0">
                <a:pos x="172" y="59"/>
              </a:cxn>
              <a:cxn ang="0">
                <a:pos x="189" y="70"/>
              </a:cxn>
              <a:cxn ang="0">
                <a:pos x="189" y="81"/>
              </a:cxn>
              <a:cxn ang="0">
                <a:pos x="176" y="96"/>
              </a:cxn>
              <a:cxn ang="0">
                <a:pos x="164" y="91"/>
              </a:cxn>
              <a:cxn ang="0">
                <a:pos x="124" y="85"/>
              </a:cxn>
              <a:cxn ang="0">
                <a:pos x="97" y="91"/>
              </a:cxn>
              <a:cxn ang="0">
                <a:pos x="92" y="97"/>
              </a:cxn>
              <a:cxn ang="0">
                <a:pos x="71" y="103"/>
              </a:cxn>
              <a:cxn ang="0">
                <a:pos x="65" y="88"/>
              </a:cxn>
              <a:cxn ang="0">
                <a:pos x="51" y="91"/>
              </a:cxn>
              <a:cxn ang="0">
                <a:pos x="41" y="102"/>
              </a:cxn>
              <a:cxn ang="0">
                <a:pos x="30" y="118"/>
              </a:cxn>
              <a:cxn ang="0">
                <a:pos x="19" y="130"/>
              </a:cxn>
              <a:cxn ang="0">
                <a:pos x="16" y="128"/>
              </a:cxn>
              <a:cxn ang="0">
                <a:pos x="7" y="122"/>
              </a:cxn>
              <a:cxn ang="0">
                <a:pos x="5" y="108"/>
              </a:cxn>
              <a:cxn ang="0">
                <a:pos x="7" y="92"/>
              </a:cxn>
              <a:cxn ang="0">
                <a:pos x="0" y="80"/>
              </a:cxn>
              <a:cxn ang="0">
                <a:pos x="2" y="72"/>
              </a:cxn>
              <a:cxn ang="0">
                <a:pos x="8" y="50"/>
              </a:cxn>
              <a:cxn ang="0">
                <a:pos x="13" y="40"/>
              </a:cxn>
              <a:cxn ang="0">
                <a:pos x="11" y="22"/>
              </a:cxn>
              <a:cxn ang="0">
                <a:pos x="2" y="6"/>
              </a:cxn>
            </a:cxnLst>
            <a:rect l="0" t="0" r="r" b="b"/>
            <a:pathLst>
              <a:path w="189" h="130">
                <a:moveTo>
                  <a:pt x="3" y="5"/>
                </a:moveTo>
                <a:lnTo>
                  <a:pt x="5" y="2"/>
                </a:lnTo>
                <a:lnTo>
                  <a:pt x="9" y="0"/>
                </a:lnTo>
                <a:lnTo>
                  <a:pt x="20" y="0"/>
                </a:lnTo>
                <a:lnTo>
                  <a:pt x="33" y="1"/>
                </a:lnTo>
                <a:lnTo>
                  <a:pt x="60" y="1"/>
                </a:lnTo>
                <a:lnTo>
                  <a:pt x="75" y="5"/>
                </a:lnTo>
                <a:lnTo>
                  <a:pt x="89" y="13"/>
                </a:lnTo>
                <a:lnTo>
                  <a:pt x="103" y="15"/>
                </a:lnTo>
                <a:lnTo>
                  <a:pt x="108" y="20"/>
                </a:lnTo>
                <a:lnTo>
                  <a:pt x="110" y="29"/>
                </a:lnTo>
                <a:lnTo>
                  <a:pt x="113" y="32"/>
                </a:lnTo>
                <a:lnTo>
                  <a:pt x="122" y="33"/>
                </a:lnTo>
                <a:lnTo>
                  <a:pt x="141" y="33"/>
                </a:lnTo>
                <a:lnTo>
                  <a:pt x="143" y="36"/>
                </a:lnTo>
                <a:lnTo>
                  <a:pt x="145" y="39"/>
                </a:lnTo>
                <a:lnTo>
                  <a:pt x="136" y="43"/>
                </a:lnTo>
                <a:lnTo>
                  <a:pt x="127" y="43"/>
                </a:lnTo>
                <a:lnTo>
                  <a:pt x="126" y="47"/>
                </a:lnTo>
                <a:lnTo>
                  <a:pt x="140" y="52"/>
                </a:lnTo>
                <a:lnTo>
                  <a:pt x="165" y="52"/>
                </a:lnTo>
                <a:lnTo>
                  <a:pt x="172" y="59"/>
                </a:lnTo>
                <a:lnTo>
                  <a:pt x="181" y="68"/>
                </a:lnTo>
                <a:lnTo>
                  <a:pt x="189" y="70"/>
                </a:lnTo>
                <a:lnTo>
                  <a:pt x="189" y="72"/>
                </a:lnTo>
                <a:lnTo>
                  <a:pt x="189" y="81"/>
                </a:lnTo>
                <a:lnTo>
                  <a:pt x="185" y="88"/>
                </a:lnTo>
                <a:lnTo>
                  <a:pt x="176" y="96"/>
                </a:lnTo>
                <a:lnTo>
                  <a:pt x="169" y="96"/>
                </a:lnTo>
                <a:lnTo>
                  <a:pt x="164" y="91"/>
                </a:lnTo>
                <a:lnTo>
                  <a:pt x="153" y="86"/>
                </a:lnTo>
                <a:lnTo>
                  <a:pt x="124" y="85"/>
                </a:lnTo>
                <a:lnTo>
                  <a:pt x="103" y="87"/>
                </a:lnTo>
                <a:lnTo>
                  <a:pt x="97" y="91"/>
                </a:lnTo>
                <a:lnTo>
                  <a:pt x="94" y="96"/>
                </a:lnTo>
                <a:lnTo>
                  <a:pt x="92" y="97"/>
                </a:lnTo>
                <a:lnTo>
                  <a:pt x="83" y="101"/>
                </a:lnTo>
                <a:lnTo>
                  <a:pt x="71" y="103"/>
                </a:lnTo>
                <a:lnTo>
                  <a:pt x="65" y="91"/>
                </a:lnTo>
                <a:lnTo>
                  <a:pt x="65" y="88"/>
                </a:lnTo>
                <a:lnTo>
                  <a:pt x="56" y="88"/>
                </a:lnTo>
                <a:lnTo>
                  <a:pt x="51" y="91"/>
                </a:lnTo>
                <a:lnTo>
                  <a:pt x="48" y="93"/>
                </a:lnTo>
                <a:lnTo>
                  <a:pt x="41" y="102"/>
                </a:lnTo>
                <a:lnTo>
                  <a:pt x="34" y="114"/>
                </a:lnTo>
                <a:lnTo>
                  <a:pt x="30" y="118"/>
                </a:lnTo>
                <a:lnTo>
                  <a:pt x="30" y="120"/>
                </a:lnTo>
                <a:lnTo>
                  <a:pt x="19" y="130"/>
                </a:lnTo>
                <a:lnTo>
                  <a:pt x="16" y="130"/>
                </a:lnTo>
                <a:lnTo>
                  <a:pt x="16" y="128"/>
                </a:lnTo>
                <a:lnTo>
                  <a:pt x="8" y="123"/>
                </a:lnTo>
                <a:lnTo>
                  <a:pt x="7" y="122"/>
                </a:lnTo>
                <a:lnTo>
                  <a:pt x="7" y="112"/>
                </a:lnTo>
                <a:lnTo>
                  <a:pt x="5" y="108"/>
                </a:lnTo>
                <a:lnTo>
                  <a:pt x="6" y="106"/>
                </a:lnTo>
                <a:lnTo>
                  <a:pt x="7" y="92"/>
                </a:lnTo>
                <a:lnTo>
                  <a:pt x="6" y="86"/>
                </a:lnTo>
                <a:lnTo>
                  <a:pt x="0" y="80"/>
                </a:lnTo>
                <a:lnTo>
                  <a:pt x="0" y="76"/>
                </a:lnTo>
                <a:lnTo>
                  <a:pt x="2" y="72"/>
                </a:lnTo>
                <a:lnTo>
                  <a:pt x="9" y="66"/>
                </a:lnTo>
                <a:lnTo>
                  <a:pt x="8" y="50"/>
                </a:lnTo>
                <a:lnTo>
                  <a:pt x="12" y="47"/>
                </a:lnTo>
                <a:lnTo>
                  <a:pt x="13" y="40"/>
                </a:lnTo>
                <a:lnTo>
                  <a:pt x="9" y="36"/>
                </a:lnTo>
                <a:lnTo>
                  <a:pt x="11" y="22"/>
                </a:lnTo>
                <a:lnTo>
                  <a:pt x="8" y="13"/>
                </a:lnTo>
                <a:lnTo>
                  <a:pt x="2" y="6"/>
                </a:lnTo>
                <a:lnTo>
                  <a:pt x="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0" name="Freeform 1372"/>
          <p:cNvSpPr>
            <a:spLocks/>
          </p:cNvSpPr>
          <p:nvPr userDrawn="1"/>
        </p:nvSpPr>
        <p:spPr bwMode="auto">
          <a:xfrm>
            <a:off x="2835746" y="4177620"/>
            <a:ext cx="56864" cy="43982"/>
          </a:xfrm>
          <a:custGeom>
            <a:avLst/>
            <a:gdLst/>
            <a:ahLst/>
            <a:cxnLst>
              <a:cxn ang="0">
                <a:pos x="144" y="109"/>
              </a:cxn>
              <a:cxn ang="0">
                <a:pos x="145" y="107"/>
              </a:cxn>
              <a:cxn ang="0">
                <a:pos x="147" y="93"/>
              </a:cxn>
              <a:cxn ang="0">
                <a:pos x="145" y="87"/>
              </a:cxn>
              <a:cxn ang="0">
                <a:pos x="140" y="81"/>
              </a:cxn>
              <a:cxn ang="0">
                <a:pos x="140" y="77"/>
              </a:cxn>
              <a:cxn ang="0">
                <a:pos x="141" y="73"/>
              </a:cxn>
              <a:cxn ang="0">
                <a:pos x="148" y="67"/>
              </a:cxn>
              <a:cxn ang="0">
                <a:pos x="147" y="51"/>
              </a:cxn>
              <a:cxn ang="0">
                <a:pos x="151" y="48"/>
              </a:cxn>
              <a:cxn ang="0">
                <a:pos x="153" y="41"/>
              </a:cxn>
              <a:cxn ang="0">
                <a:pos x="148" y="37"/>
              </a:cxn>
              <a:cxn ang="0">
                <a:pos x="150" y="23"/>
              </a:cxn>
              <a:cxn ang="0">
                <a:pos x="147" y="14"/>
              </a:cxn>
              <a:cxn ang="0">
                <a:pos x="141" y="7"/>
              </a:cxn>
              <a:cxn ang="0">
                <a:pos x="142" y="6"/>
              </a:cxn>
              <a:cxn ang="0">
                <a:pos x="141" y="6"/>
              </a:cxn>
              <a:cxn ang="0">
                <a:pos x="135" y="11"/>
              </a:cxn>
              <a:cxn ang="0">
                <a:pos x="112" y="11"/>
              </a:cxn>
              <a:cxn ang="0">
                <a:pos x="105" y="10"/>
              </a:cxn>
              <a:cxn ang="0">
                <a:pos x="98" y="5"/>
              </a:cxn>
              <a:cxn ang="0">
                <a:pos x="89" y="1"/>
              </a:cxn>
              <a:cxn ang="0">
                <a:pos x="77" y="0"/>
              </a:cxn>
              <a:cxn ang="0">
                <a:pos x="61" y="2"/>
              </a:cxn>
              <a:cxn ang="0">
                <a:pos x="55" y="6"/>
              </a:cxn>
              <a:cxn ang="0">
                <a:pos x="51" y="11"/>
              </a:cxn>
              <a:cxn ang="0">
                <a:pos x="53" y="17"/>
              </a:cxn>
              <a:cxn ang="0">
                <a:pos x="56" y="18"/>
              </a:cxn>
              <a:cxn ang="0">
                <a:pos x="77" y="18"/>
              </a:cxn>
              <a:cxn ang="0">
                <a:pos x="86" y="23"/>
              </a:cxn>
              <a:cxn ang="0">
                <a:pos x="87" y="29"/>
              </a:cxn>
              <a:cxn ang="0">
                <a:pos x="87" y="51"/>
              </a:cxn>
              <a:cxn ang="0">
                <a:pos x="89" y="56"/>
              </a:cxn>
              <a:cxn ang="0">
                <a:pos x="102" y="67"/>
              </a:cxn>
              <a:cxn ang="0">
                <a:pos x="110" y="71"/>
              </a:cxn>
              <a:cxn ang="0">
                <a:pos x="110" y="77"/>
              </a:cxn>
              <a:cxn ang="0">
                <a:pos x="108" y="80"/>
              </a:cxn>
              <a:cxn ang="0">
                <a:pos x="101" y="80"/>
              </a:cxn>
              <a:cxn ang="0">
                <a:pos x="89" y="82"/>
              </a:cxn>
              <a:cxn ang="0">
                <a:pos x="65" y="83"/>
              </a:cxn>
              <a:cxn ang="0">
                <a:pos x="45" y="81"/>
              </a:cxn>
              <a:cxn ang="0">
                <a:pos x="32" y="77"/>
              </a:cxn>
              <a:cxn ang="0">
                <a:pos x="1" y="77"/>
              </a:cxn>
              <a:cxn ang="0">
                <a:pos x="0" y="80"/>
              </a:cxn>
              <a:cxn ang="0">
                <a:pos x="0" y="86"/>
              </a:cxn>
              <a:cxn ang="0">
                <a:pos x="7" y="96"/>
              </a:cxn>
              <a:cxn ang="0">
                <a:pos x="22" y="102"/>
              </a:cxn>
              <a:cxn ang="0">
                <a:pos x="28" y="108"/>
              </a:cxn>
              <a:cxn ang="0">
                <a:pos x="32" y="107"/>
              </a:cxn>
              <a:cxn ang="0">
                <a:pos x="32" y="102"/>
              </a:cxn>
              <a:cxn ang="0">
                <a:pos x="34" y="99"/>
              </a:cxn>
              <a:cxn ang="0">
                <a:pos x="39" y="97"/>
              </a:cxn>
              <a:cxn ang="0">
                <a:pos x="43" y="97"/>
              </a:cxn>
              <a:cxn ang="0">
                <a:pos x="59" y="97"/>
              </a:cxn>
              <a:cxn ang="0">
                <a:pos x="87" y="104"/>
              </a:cxn>
              <a:cxn ang="0">
                <a:pos x="96" y="104"/>
              </a:cxn>
              <a:cxn ang="0">
                <a:pos x="113" y="99"/>
              </a:cxn>
              <a:cxn ang="0">
                <a:pos x="120" y="99"/>
              </a:cxn>
              <a:cxn ang="0">
                <a:pos x="126" y="100"/>
              </a:cxn>
              <a:cxn ang="0">
                <a:pos x="132" y="103"/>
              </a:cxn>
              <a:cxn ang="0">
                <a:pos x="137" y="104"/>
              </a:cxn>
              <a:cxn ang="0">
                <a:pos x="144" y="108"/>
              </a:cxn>
              <a:cxn ang="0">
                <a:pos x="144" y="109"/>
              </a:cxn>
            </a:cxnLst>
            <a:rect l="0" t="0" r="r" b="b"/>
            <a:pathLst>
              <a:path w="153" h="109">
                <a:moveTo>
                  <a:pt x="144" y="109"/>
                </a:moveTo>
                <a:lnTo>
                  <a:pt x="145" y="107"/>
                </a:lnTo>
                <a:lnTo>
                  <a:pt x="147" y="93"/>
                </a:lnTo>
                <a:lnTo>
                  <a:pt x="145" y="87"/>
                </a:lnTo>
                <a:lnTo>
                  <a:pt x="140" y="81"/>
                </a:lnTo>
                <a:lnTo>
                  <a:pt x="140" y="77"/>
                </a:lnTo>
                <a:lnTo>
                  <a:pt x="141" y="73"/>
                </a:lnTo>
                <a:lnTo>
                  <a:pt x="148" y="67"/>
                </a:lnTo>
                <a:lnTo>
                  <a:pt x="147" y="51"/>
                </a:lnTo>
                <a:lnTo>
                  <a:pt x="151" y="48"/>
                </a:lnTo>
                <a:lnTo>
                  <a:pt x="153" y="41"/>
                </a:lnTo>
                <a:lnTo>
                  <a:pt x="148" y="37"/>
                </a:lnTo>
                <a:lnTo>
                  <a:pt x="150" y="23"/>
                </a:lnTo>
                <a:lnTo>
                  <a:pt x="147" y="14"/>
                </a:lnTo>
                <a:lnTo>
                  <a:pt x="141" y="7"/>
                </a:lnTo>
                <a:lnTo>
                  <a:pt x="142" y="6"/>
                </a:lnTo>
                <a:lnTo>
                  <a:pt x="141" y="6"/>
                </a:lnTo>
                <a:lnTo>
                  <a:pt x="135" y="11"/>
                </a:lnTo>
                <a:lnTo>
                  <a:pt x="112" y="11"/>
                </a:lnTo>
                <a:lnTo>
                  <a:pt x="105" y="10"/>
                </a:lnTo>
                <a:lnTo>
                  <a:pt x="98" y="5"/>
                </a:lnTo>
                <a:lnTo>
                  <a:pt x="89" y="1"/>
                </a:lnTo>
                <a:lnTo>
                  <a:pt x="77" y="0"/>
                </a:lnTo>
                <a:lnTo>
                  <a:pt x="61" y="2"/>
                </a:lnTo>
                <a:lnTo>
                  <a:pt x="55" y="6"/>
                </a:lnTo>
                <a:lnTo>
                  <a:pt x="51" y="11"/>
                </a:lnTo>
                <a:lnTo>
                  <a:pt x="53" y="17"/>
                </a:lnTo>
                <a:lnTo>
                  <a:pt x="56" y="18"/>
                </a:lnTo>
                <a:lnTo>
                  <a:pt x="77" y="18"/>
                </a:lnTo>
                <a:lnTo>
                  <a:pt x="86" y="23"/>
                </a:lnTo>
                <a:lnTo>
                  <a:pt x="87" y="29"/>
                </a:lnTo>
                <a:lnTo>
                  <a:pt x="87" y="51"/>
                </a:lnTo>
                <a:lnTo>
                  <a:pt x="89" y="56"/>
                </a:lnTo>
                <a:lnTo>
                  <a:pt x="102" y="67"/>
                </a:lnTo>
                <a:lnTo>
                  <a:pt x="110" y="71"/>
                </a:lnTo>
                <a:lnTo>
                  <a:pt x="110" y="77"/>
                </a:lnTo>
                <a:lnTo>
                  <a:pt x="108" y="80"/>
                </a:lnTo>
                <a:lnTo>
                  <a:pt x="101" y="80"/>
                </a:lnTo>
                <a:lnTo>
                  <a:pt x="89" y="82"/>
                </a:lnTo>
                <a:lnTo>
                  <a:pt x="65" y="83"/>
                </a:lnTo>
                <a:lnTo>
                  <a:pt x="45" y="81"/>
                </a:lnTo>
                <a:lnTo>
                  <a:pt x="32" y="77"/>
                </a:lnTo>
                <a:lnTo>
                  <a:pt x="1" y="77"/>
                </a:lnTo>
                <a:lnTo>
                  <a:pt x="0" y="80"/>
                </a:lnTo>
                <a:lnTo>
                  <a:pt x="0" y="86"/>
                </a:lnTo>
                <a:lnTo>
                  <a:pt x="7" y="96"/>
                </a:lnTo>
                <a:lnTo>
                  <a:pt x="22" y="102"/>
                </a:lnTo>
                <a:lnTo>
                  <a:pt x="28" y="108"/>
                </a:lnTo>
                <a:lnTo>
                  <a:pt x="32" y="107"/>
                </a:lnTo>
                <a:lnTo>
                  <a:pt x="32" y="102"/>
                </a:lnTo>
                <a:lnTo>
                  <a:pt x="34" y="99"/>
                </a:lnTo>
                <a:lnTo>
                  <a:pt x="39" y="97"/>
                </a:lnTo>
                <a:lnTo>
                  <a:pt x="43" y="97"/>
                </a:lnTo>
                <a:lnTo>
                  <a:pt x="59" y="97"/>
                </a:lnTo>
                <a:lnTo>
                  <a:pt x="87" y="104"/>
                </a:lnTo>
                <a:lnTo>
                  <a:pt x="96" y="104"/>
                </a:lnTo>
                <a:lnTo>
                  <a:pt x="113" y="99"/>
                </a:lnTo>
                <a:lnTo>
                  <a:pt x="120" y="99"/>
                </a:lnTo>
                <a:lnTo>
                  <a:pt x="126" y="100"/>
                </a:lnTo>
                <a:lnTo>
                  <a:pt x="132" y="103"/>
                </a:lnTo>
                <a:lnTo>
                  <a:pt x="137" y="104"/>
                </a:lnTo>
                <a:lnTo>
                  <a:pt x="144" y="108"/>
                </a:lnTo>
                <a:lnTo>
                  <a:pt x="144" y="1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1" name="Freeform 1373"/>
          <p:cNvSpPr>
            <a:spLocks/>
          </p:cNvSpPr>
          <p:nvPr userDrawn="1"/>
        </p:nvSpPr>
        <p:spPr bwMode="auto">
          <a:xfrm>
            <a:off x="2624795" y="4101652"/>
            <a:ext cx="212785" cy="77968"/>
          </a:xfrm>
          <a:custGeom>
            <a:avLst/>
            <a:gdLst/>
            <a:ahLst/>
            <a:cxnLst>
              <a:cxn ang="0">
                <a:pos x="433" y="101"/>
              </a:cxn>
              <a:cxn ang="0">
                <a:pos x="460" y="113"/>
              </a:cxn>
              <a:cxn ang="0">
                <a:pos x="480" y="121"/>
              </a:cxn>
              <a:cxn ang="0">
                <a:pos x="500" y="121"/>
              </a:cxn>
              <a:cxn ang="0">
                <a:pos x="500" y="138"/>
              </a:cxn>
              <a:cxn ang="0">
                <a:pos x="508" y="144"/>
              </a:cxn>
              <a:cxn ang="0">
                <a:pos x="552" y="153"/>
              </a:cxn>
              <a:cxn ang="0">
                <a:pos x="577" y="167"/>
              </a:cxn>
              <a:cxn ang="0">
                <a:pos x="546" y="188"/>
              </a:cxn>
              <a:cxn ang="0">
                <a:pos x="507" y="194"/>
              </a:cxn>
              <a:cxn ang="0">
                <a:pos x="441" y="191"/>
              </a:cxn>
              <a:cxn ang="0">
                <a:pos x="395" y="197"/>
              </a:cxn>
              <a:cxn ang="0">
                <a:pos x="393" y="187"/>
              </a:cxn>
              <a:cxn ang="0">
                <a:pos x="427" y="167"/>
              </a:cxn>
              <a:cxn ang="0">
                <a:pos x="421" y="154"/>
              </a:cxn>
              <a:cxn ang="0">
                <a:pos x="367" y="142"/>
              </a:cxn>
              <a:cxn ang="0">
                <a:pos x="346" y="116"/>
              </a:cxn>
              <a:cxn ang="0">
                <a:pos x="319" y="96"/>
              </a:cxn>
              <a:cxn ang="0">
                <a:pos x="292" y="94"/>
              </a:cxn>
              <a:cxn ang="0">
                <a:pos x="244" y="73"/>
              </a:cxn>
              <a:cxn ang="0">
                <a:pos x="206" y="64"/>
              </a:cxn>
              <a:cxn ang="0">
                <a:pos x="190" y="68"/>
              </a:cxn>
              <a:cxn ang="0">
                <a:pos x="165" y="63"/>
              </a:cxn>
              <a:cxn ang="0">
                <a:pos x="151" y="52"/>
              </a:cxn>
              <a:cxn ang="0">
                <a:pos x="172" y="41"/>
              </a:cxn>
              <a:cxn ang="0">
                <a:pos x="162" y="34"/>
              </a:cxn>
              <a:cxn ang="0">
                <a:pos x="104" y="37"/>
              </a:cxn>
              <a:cxn ang="0">
                <a:pos x="78" y="58"/>
              </a:cxn>
              <a:cxn ang="0">
                <a:pos x="49" y="72"/>
              </a:cxn>
              <a:cxn ang="0">
                <a:pos x="22" y="85"/>
              </a:cxn>
              <a:cxn ang="0">
                <a:pos x="17" y="79"/>
              </a:cxn>
              <a:cxn ang="0">
                <a:pos x="13" y="70"/>
              </a:cxn>
              <a:cxn ang="0">
                <a:pos x="24" y="64"/>
              </a:cxn>
              <a:cxn ang="0">
                <a:pos x="40" y="31"/>
              </a:cxn>
              <a:cxn ang="0">
                <a:pos x="78" y="15"/>
              </a:cxn>
              <a:cxn ang="0">
                <a:pos x="174" y="0"/>
              </a:cxn>
              <a:cxn ang="0">
                <a:pos x="226" y="4"/>
              </a:cxn>
              <a:cxn ang="0">
                <a:pos x="259" y="11"/>
              </a:cxn>
              <a:cxn ang="0">
                <a:pos x="285" y="34"/>
              </a:cxn>
              <a:cxn ang="0">
                <a:pos x="328" y="45"/>
              </a:cxn>
              <a:cxn ang="0">
                <a:pos x="346" y="52"/>
              </a:cxn>
              <a:cxn ang="0">
                <a:pos x="346" y="58"/>
              </a:cxn>
              <a:cxn ang="0">
                <a:pos x="378" y="75"/>
              </a:cxn>
              <a:cxn ang="0">
                <a:pos x="417" y="90"/>
              </a:cxn>
            </a:cxnLst>
            <a:rect l="0" t="0" r="r" b="b"/>
            <a:pathLst>
              <a:path w="583" h="197">
                <a:moveTo>
                  <a:pt x="417" y="90"/>
                </a:moveTo>
                <a:lnTo>
                  <a:pt x="419" y="91"/>
                </a:lnTo>
                <a:lnTo>
                  <a:pt x="433" y="101"/>
                </a:lnTo>
                <a:lnTo>
                  <a:pt x="446" y="111"/>
                </a:lnTo>
                <a:lnTo>
                  <a:pt x="454" y="113"/>
                </a:lnTo>
                <a:lnTo>
                  <a:pt x="460" y="113"/>
                </a:lnTo>
                <a:lnTo>
                  <a:pt x="464" y="115"/>
                </a:lnTo>
                <a:lnTo>
                  <a:pt x="468" y="117"/>
                </a:lnTo>
                <a:lnTo>
                  <a:pt x="480" y="121"/>
                </a:lnTo>
                <a:lnTo>
                  <a:pt x="487" y="121"/>
                </a:lnTo>
                <a:lnTo>
                  <a:pt x="495" y="119"/>
                </a:lnTo>
                <a:lnTo>
                  <a:pt x="500" y="121"/>
                </a:lnTo>
                <a:lnTo>
                  <a:pt x="503" y="127"/>
                </a:lnTo>
                <a:lnTo>
                  <a:pt x="503" y="131"/>
                </a:lnTo>
                <a:lnTo>
                  <a:pt x="500" y="138"/>
                </a:lnTo>
                <a:lnTo>
                  <a:pt x="500" y="142"/>
                </a:lnTo>
                <a:lnTo>
                  <a:pt x="501" y="143"/>
                </a:lnTo>
                <a:lnTo>
                  <a:pt x="508" y="144"/>
                </a:lnTo>
                <a:lnTo>
                  <a:pt x="539" y="143"/>
                </a:lnTo>
                <a:lnTo>
                  <a:pt x="545" y="145"/>
                </a:lnTo>
                <a:lnTo>
                  <a:pt x="552" y="153"/>
                </a:lnTo>
                <a:lnTo>
                  <a:pt x="555" y="156"/>
                </a:lnTo>
                <a:lnTo>
                  <a:pt x="568" y="166"/>
                </a:lnTo>
                <a:lnTo>
                  <a:pt x="577" y="167"/>
                </a:lnTo>
                <a:lnTo>
                  <a:pt x="583" y="169"/>
                </a:lnTo>
                <a:lnTo>
                  <a:pt x="583" y="176"/>
                </a:lnTo>
                <a:lnTo>
                  <a:pt x="546" y="188"/>
                </a:lnTo>
                <a:lnTo>
                  <a:pt x="535" y="193"/>
                </a:lnTo>
                <a:lnTo>
                  <a:pt x="522" y="196"/>
                </a:lnTo>
                <a:lnTo>
                  <a:pt x="507" y="194"/>
                </a:lnTo>
                <a:lnTo>
                  <a:pt x="497" y="192"/>
                </a:lnTo>
                <a:lnTo>
                  <a:pt x="487" y="191"/>
                </a:lnTo>
                <a:lnTo>
                  <a:pt x="441" y="191"/>
                </a:lnTo>
                <a:lnTo>
                  <a:pt x="417" y="193"/>
                </a:lnTo>
                <a:lnTo>
                  <a:pt x="404" y="197"/>
                </a:lnTo>
                <a:lnTo>
                  <a:pt x="395" y="197"/>
                </a:lnTo>
                <a:lnTo>
                  <a:pt x="390" y="196"/>
                </a:lnTo>
                <a:lnTo>
                  <a:pt x="389" y="192"/>
                </a:lnTo>
                <a:lnTo>
                  <a:pt x="393" y="187"/>
                </a:lnTo>
                <a:lnTo>
                  <a:pt x="404" y="178"/>
                </a:lnTo>
                <a:lnTo>
                  <a:pt x="414" y="172"/>
                </a:lnTo>
                <a:lnTo>
                  <a:pt x="427" y="167"/>
                </a:lnTo>
                <a:lnTo>
                  <a:pt x="428" y="161"/>
                </a:lnTo>
                <a:lnTo>
                  <a:pt x="427" y="158"/>
                </a:lnTo>
                <a:lnTo>
                  <a:pt x="421" y="154"/>
                </a:lnTo>
                <a:lnTo>
                  <a:pt x="404" y="149"/>
                </a:lnTo>
                <a:lnTo>
                  <a:pt x="373" y="147"/>
                </a:lnTo>
                <a:lnTo>
                  <a:pt x="367" y="142"/>
                </a:lnTo>
                <a:lnTo>
                  <a:pt x="358" y="135"/>
                </a:lnTo>
                <a:lnTo>
                  <a:pt x="352" y="128"/>
                </a:lnTo>
                <a:lnTo>
                  <a:pt x="346" y="116"/>
                </a:lnTo>
                <a:lnTo>
                  <a:pt x="345" y="107"/>
                </a:lnTo>
                <a:lnTo>
                  <a:pt x="337" y="99"/>
                </a:lnTo>
                <a:lnTo>
                  <a:pt x="319" y="96"/>
                </a:lnTo>
                <a:lnTo>
                  <a:pt x="302" y="97"/>
                </a:lnTo>
                <a:lnTo>
                  <a:pt x="296" y="96"/>
                </a:lnTo>
                <a:lnTo>
                  <a:pt x="292" y="94"/>
                </a:lnTo>
                <a:lnTo>
                  <a:pt x="272" y="90"/>
                </a:lnTo>
                <a:lnTo>
                  <a:pt x="256" y="83"/>
                </a:lnTo>
                <a:lnTo>
                  <a:pt x="244" y="73"/>
                </a:lnTo>
                <a:lnTo>
                  <a:pt x="236" y="68"/>
                </a:lnTo>
                <a:lnTo>
                  <a:pt x="212" y="68"/>
                </a:lnTo>
                <a:lnTo>
                  <a:pt x="206" y="64"/>
                </a:lnTo>
                <a:lnTo>
                  <a:pt x="201" y="64"/>
                </a:lnTo>
                <a:lnTo>
                  <a:pt x="196" y="67"/>
                </a:lnTo>
                <a:lnTo>
                  <a:pt x="190" y="68"/>
                </a:lnTo>
                <a:lnTo>
                  <a:pt x="183" y="65"/>
                </a:lnTo>
                <a:lnTo>
                  <a:pt x="180" y="63"/>
                </a:lnTo>
                <a:lnTo>
                  <a:pt x="165" y="63"/>
                </a:lnTo>
                <a:lnTo>
                  <a:pt x="157" y="61"/>
                </a:lnTo>
                <a:lnTo>
                  <a:pt x="154" y="58"/>
                </a:lnTo>
                <a:lnTo>
                  <a:pt x="151" y="52"/>
                </a:lnTo>
                <a:lnTo>
                  <a:pt x="151" y="49"/>
                </a:lnTo>
                <a:lnTo>
                  <a:pt x="169" y="45"/>
                </a:lnTo>
                <a:lnTo>
                  <a:pt x="172" y="41"/>
                </a:lnTo>
                <a:lnTo>
                  <a:pt x="170" y="37"/>
                </a:lnTo>
                <a:lnTo>
                  <a:pt x="163" y="36"/>
                </a:lnTo>
                <a:lnTo>
                  <a:pt x="162" y="34"/>
                </a:lnTo>
                <a:lnTo>
                  <a:pt x="125" y="30"/>
                </a:lnTo>
                <a:lnTo>
                  <a:pt x="114" y="31"/>
                </a:lnTo>
                <a:lnTo>
                  <a:pt x="104" y="37"/>
                </a:lnTo>
                <a:lnTo>
                  <a:pt x="97" y="45"/>
                </a:lnTo>
                <a:lnTo>
                  <a:pt x="89" y="53"/>
                </a:lnTo>
                <a:lnTo>
                  <a:pt x="78" y="58"/>
                </a:lnTo>
                <a:lnTo>
                  <a:pt x="64" y="59"/>
                </a:lnTo>
                <a:lnTo>
                  <a:pt x="56" y="62"/>
                </a:lnTo>
                <a:lnTo>
                  <a:pt x="49" y="72"/>
                </a:lnTo>
                <a:lnTo>
                  <a:pt x="39" y="73"/>
                </a:lnTo>
                <a:lnTo>
                  <a:pt x="36" y="74"/>
                </a:lnTo>
                <a:lnTo>
                  <a:pt x="22" y="85"/>
                </a:lnTo>
                <a:lnTo>
                  <a:pt x="21" y="85"/>
                </a:lnTo>
                <a:lnTo>
                  <a:pt x="19" y="83"/>
                </a:lnTo>
                <a:lnTo>
                  <a:pt x="17" y="79"/>
                </a:lnTo>
                <a:lnTo>
                  <a:pt x="0" y="80"/>
                </a:lnTo>
                <a:lnTo>
                  <a:pt x="0" y="78"/>
                </a:lnTo>
                <a:lnTo>
                  <a:pt x="13" y="70"/>
                </a:lnTo>
                <a:lnTo>
                  <a:pt x="22" y="69"/>
                </a:lnTo>
                <a:lnTo>
                  <a:pt x="24" y="68"/>
                </a:lnTo>
                <a:lnTo>
                  <a:pt x="24" y="64"/>
                </a:lnTo>
                <a:lnTo>
                  <a:pt x="24" y="46"/>
                </a:lnTo>
                <a:lnTo>
                  <a:pt x="28" y="41"/>
                </a:lnTo>
                <a:lnTo>
                  <a:pt x="40" y="31"/>
                </a:lnTo>
                <a:lnTo>
                  <a:pt x="57" y="24"/>
                </a:lnTo>
                <a:lnTo>
                  <a:pt x="61" y="22"/>
                </a:lnTo>
                <a:lnTo>
                  <a:pt x="78" y="15"/>
                </a:lnTo>
                <a:lnTo>
                  <a:pt x="118" y="6"/>
                </a:lnTo>
                <a:lnTo>
                  <a:pt x="130" y="2"/>
                </a:lnTo>
                <a:lnTo>
                  <a:pt x="174" y="0"/>
                </a:lnTo>
                <a:lnTo>
                  <a:pt x="194" y="4"/>
                </a:lnTo>
                <a:lnTo>
                  <a:pt x="213" y="5"/>
                </a:lnTo>
                <a:lnTo>
                  <a:pt x="226" y="4"/>
                </a:lnTo>
                <a:lnTo>
                  <a:pt x="233" y="10"/>
                </a:lnTo>
                <a:lnTo>
                  <a:pt x="238" y="13"/>
                </a:lnTo>
                <a:lnTo>
                  <a:pt x="259" y="11"/>
                </a:lnTo>
                <a:lnTo>
                  <a:pt x="265" y="15"/>
                </a:lnTo>
                <a:lnTo>
                  <a:pt x="281" y="27"/>
                </a:lnTo>
                <a:lnTo>
                  <a:pt x="285" y="34"/>
                </a:lnTo>
                <a:lnTo>
                  <a:pt x="296" y="42"/>
                </a:lnTo>
                <a:lnTo>
                  <a:pt x="304" y="46"/>
                </a:lnTo>
                <a:lnTo>
                  <a:pt x="328" y="45"/>
                </a:lnTo>
                <a:lnTo>
                  <a:pt x="334" y="48"/>
                </a:lnTo>
                <a:lnTo>
                  <a:pt x="342" y="48"/>
                </a:lnTo>
                <a:lnTo>
                  <a:pt x="346" y="52"/>
                </a:lnTo>
                <a:lnTo>
                  <a:pt x="342" y="52"/>
                </a:lnTo>
                <a:lnTo>
                  <a:pt x="342" y="56"/>
                </a:lnTo>
                <a:lnTo>
                  <a:pt x="346" y="58"/>
                </a:lnTo>
                <a:lnTo>
                  <a:pt x="358" y="59"/>
                </a:lnTo>
                <a:lnTo>
                  <a:pt x="366" y="63"/>
                </a:lnTo>
                <a:lnTo>
                  <a:pt x="378" y="75"/>
                </a:lnTo>
                <a:lnTo>
                  <a:pt x="395" y="81"/>
                </a:lnTo>
                <a:lnTo>
                  <a:pt x="409" y="88"/>
                </a:lnTo>
                <a:lnTo>
                  <a:pt x="417" y="9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2" name="Freeform 1375"/>
          <p:cNvSpPr>
            <a:spLocks/>
          </p:cNvSpPr>
          <p:nvPr userDrawn="1"/>
        </p:nvSpPr>
        <p:spPr bwMode="auto">
          <a:xfrm>
            <a:off x="1977266" y="3867750"/>
            <a:ext cx="607172" cy="431820"/>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733" name="Group 1376"/>
          <p:cNvGrpSpPr>
            <a:grpSpLocks/>
          </p:cNvGrpSpPr>
          <p:nvPr userDrawn="1"/>
        </p:nvGrpSpPr>
        <p:grpSpPr bwMode="auto">
          <a:xfrm>
            <a:off x="950026" y="2360375"/>
            <a:ext cx="2039805" cy="1695294"/>
            <a:chOff x="914" y="1431"/>
            <a:chExt cx="1112" cy="848"/>
          </a:xfrm>
          <a:solidFill>
            <a:schemeClr val="bg1">
              <a:lumMod val="75000"/>
            </a:schemeClr>
          </a:solidFill>
        </p:grpSpPr>
        <p:grpSp>
          <p:nvGrpSpPr>
            <p:cNvPr id="734" name="Group 1377"/>
            <p:cNvGrpSpPr>
              <a:grpSpLocks/>
            </p:cNvGrpSpPr>
            <p:nvPr/>
          </p:nvGrpSpPr>
          <p:grpSpPr bwMode="auto">
            <a:xfrm>
              <a:off x="914" y="1431"/>
              <a:ext cx="418" cy="413"/>
              <a:chOff x="914" y="1431"/>
              <a:chExt cx="418" cy="413"/>
            </a:xfrm>
            <a:grpFill/>
          </p:grpSpPr>
          <p:sp>
            <p:nvSpPr>
              <p:cNvPr id="741" name="Freeform 1378"/>
              <p:cNvSpPr>
                <a:spLocks/>
              </p:cNvSpPr>
              <p:nvPr/>
            </p:nvSpPr>
            <p:spPr bwMode="auto">
              <a:xfrm>
                <a:off x="1018" y="1813"/>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2" name="Freeform 1379"/>
              <p:cNvSpPr>
                <a:spLocks/>
              </p:cNvSpPr>
              <p:nvPr/>
            </p:nvSpPr>
            <p:spPr bwMode="auto">
              <a:xfrm>
                <a:off x="1075" y="1796"/>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3" name="Freeform 1380"/>
              <p:cNvSpPr>
                <a:spLocks/>
              </p:cNvSpPr>
              <p:nvPr/>
            </p:nvSpPr>
            <p:spPr bwMode="auto">
              <a:xfrm>
                <a:off x="1059" y="1781"/>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4" name="Freeform 1381"/>
              <p:cNvSpPr>
                <a:spLocks/>
              </p:cNvSpPr>
              <p:nvPr/>
            </p:nvSpPr>
            <p:spPr bwMode="auto">
              <a:xfrm>
                <a:off x="914" y="1431"/>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5" name="Freeform 1382"/>
              <p:cNvSpPr>
                <a:spLocks/>
              </p:cNvSpPr>
              <p:nvPr/>
            </p:nvSpPr>
            <p:spPr bwMode="auto">
              <a:xfrm>
                <a:off x="1241" y="1743"/>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735" name="Group 1383"/>
            <p:cNvGrpSpPr>
              <a:grpSpLocks/>
            </p:cNvGrpSpPr>
            <p:nvPr/>
          </p:nvGrpSpPr>
          <p:grpSpPr bwMode="auto">
            <a:xfrm>
              <a:off x="1391" y="1940"/>
              <a:ext cx="635" cy="339"/>
              <a:chOff x="1391" y="1940"/>
              <a:chExt cx="635" cy="339"/>
            </a:xfrm>
            <a:grpFill/>
          </p:grpSpPr>
          <p:sp>
            <p:nvSpPr>
              <p:cNvPr id="736" name="Freeform 1384"/>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7" name="Freeform 1385"/>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8" name="Freeform 1386"/>
              <p:cNvSpPr>
                <a:spLocks/>
              </p:cNvSpPr>
              <p:nvPr/>
            </p:nvSpPr>
            <p:spPr bwMode="auto">
              <a:xfrm>
                <a:off x="1913" y="2102"/>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9" name="Freeform 1387"/>
              <p:cNvSpPr>
                <a:spLocks/>
              </p:cNvSpPr>
              <p:nvPr/>
            </p:nvSpPr>
            <p:spPr bwMode="auto">
              <a:xfrm>
                <a:off x="1912" y="2100"/>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0" name="Freeform 1388"/>
              <p:cNvSpPr>
                <a:spLocks/>
              </p:cNvSpPr>
              <p:nvPr/>
            </p:nvSpPr>
            <p:spPr bwMode="auto">
              <a:xfrm>
                <a:off x="1391" y="1940"/>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grpSp>
        <p:nvGrpSpPr>
          <p:cNvPr id="746" name="Group 1389"/>
          <p:cNvGrpSpPr>
            <a:grpSpLocks/>
          </p:cNvGrpSpPr>
          <p:nvPr userDrawn="1"/>
        </p:nvGrpSpPr>
        <p:grpSpPr bwMode="auto">
          <a:xfrm>
            <a:off x="1494843" y="1568683"/>
            <a:ext cx="1777503" cy="2043127"/>
            <a:chOff x="1211" y="1035"/>
            <a:chExt cx="969" cy="1022"/>
          </a:xfrm>
          <a:solidFill>
            <a:schemeClr val="bg1">
              <a:lumMod val="75000"/>
            </a:schemeClr>
          </a:solidFill>
        </p:grpSpPr>
        <p:sp>
          <p:nvSpPr>
            <p:cNvPr id="747" name="Freeform 1390"/>
            <p:cNvSpPr>
              <a:spLocks/>
            </p:cNvSpPr>
            <p:nvPr/>
          </p:nvSpPr>
          <p:spPr bwMode="auto">
            <a:xfrm>
              <a:off x="2145" y="1866"/>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8" name="Freeform 1391"/>
            <p:cNvSpPr>
              <a:spLocks/>
            </p:cNvSpPr>
            <p:nvPr/>
          </p:nvSpPr>
          <p:spPr bwMode="auto">
            <a:xfrm>
              <a:off x="2107" y="1901"/>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9" name="Freeform 1392"/>
            <p:cNvSpPr>
              <a:spLocks/>
            </p:cNvSpPr>
            <p:nvPr/>
          </p:nvSpPr>
          <p:spPr bwMode="auto">
            <a:xfrm>
              <a:off x="1350" y="1914"/>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0" name="Freeform 1393"/>
            <p:cNvSpPr>
              <a:spLocks/>
            </p:cNvSpPr>
            <p:nvPr/>
          </p:nvSpPr>
          <p:spPr bwMode="auto">
            <a:xfrm>
              <a:off x="1667" y="1479"/>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1" name="Freeform 1394"/>
            <p:cNvSpPr>
              <a:spLocks/>
            </p:cNvSpPr>
            <p:nvPr/>
          </p:nvSpPr>
          <p:spPr bwMode="auto">
            <a:xfrm>
              <a:off x="1376" y="1309"/>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2" name="Freeform 1395"/>
            <p:cNvSpPr>
              <a:spLocks/>
            </p:cNvSpPr>
            <p:nvPr/>
          </p:nvSpPr>
          <p:spPr bwMode="auto">
            <a:xfrm>
              <a:off x="1452" y="1358"/>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3" name="Freeform 1396"/>
            <p:cNvSpPr>
              <a:spLocks/>
            </p:cNvSpPr>
            <p:nvPr/>
          </p:nvSpPr>
          <p:spPr bwMode="auto">
            <a:xfrm>
              <a:off x="1584" y="1342"/>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4" name="Freeform 1397"/>
            <p:cNvSpPr>
              <a:spLocks/>
            </p:cNvSpPr>
            <p:nvPr/>
          </p:nvSpPr>
          <p:spPr bwMode="auto">
            <a:xfrm>
              <a:off x="1634" y="1337"/>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5" name="Freeform 1398"/>
            <p:cNvSpPr>
              <a:spLocks/>
            </p:cNvSpPr>
            <p:nvPr/>
          </p:nvSpPr>
          <p:spPr bwMode="auto">
            <a:xfrm>
              <a:off x="1630" y="1216"/>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6" name="Freeform 1399"/>
            <p:cNvSpPr>
              <a:spLocks/>
            </p:cNvSpPr>
            <p:nvPr/>
          </p:nvSpPr>
          <p:spPr bwMode="auto">
            <a:xfrm>
              <a:off x="1467" y="1208"/>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7" name="Freeform 1400"/>
            <p:cNvSpPr>
              <a:spLocks/>
            </p:cNvSpPr>
            <p:nvPr/>
          </p:nvSpPr>
          <p:spPr bwMode="auto">
            <a:xfrm>
              <a:off x="1410" y="1174"/>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8" name="Freeform 1401"/>
            <p:cNvSpPr>
              <a:spLocks/>
            </p:cNvSpPr>
            <p:nvPr/>
          </p:nvSpPr>
          <p:spPr bwMode="auto">
            <a:xfrm>
              <a:off x="1513" y="1145"/>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9" name="Freeform 1402"/>
            <p:cNvSpPr>
              <a:spLocks/>
            </p:cNvSpPr>
            <p:nvPr/>
          </p:nvSpPr>
          <p:spPr bwMode="auto">
            <a:xfrm>
              <a:off x="1513" y="1110"/>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0" name="Freeform 1403"/>
            <p:cNvSpPr>
              <a:spLocks/>
            </p:cNvSpPr>
            <p:nvPr/>
          </p:nvSpPr>
          <p:spPr bwMode="auto">
            <a:xfrm>
              <a:off x="1703" y="1161"/>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1" name="Freeform 1404"/>
            <p:cNvSpPr>
              <a:spLocks/>
            </p:cNvSpPr>
            <p:nvPr/>
          </p:nvSpPr>
          <p:spPr bwMode="auto">
            <a:xfrm>
              <a:off x="1694" y="1196"/>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2" name="Freeform 1405"/>
            <p:cNvSpPr>
              <a:spLocks/>
            </p:cNvSpPr>
            <p:nvPr/>
          </p:nvSpPr>
          <p:spPr bwMode="auto">
            <a:xfrm>
              <a:off x="1699" y="1262"/>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3" name="Freeform 1406"/>
            <p:cNvSpPr>
              <a:spLocks/>
            </p:cNvSpPr>
            <p:nvPr/>
          </p:nvSpPr>
          <p:spPr bwMode="auto">
            <a:xfrm>
              <a:off x="1801" y="1595"/>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4" name="Freeform 1407"/>
            <p:cNvSpPr>
              <a:spLocks/>
            </p:cNvSpPr>
            <p:nvPr/>
          </p:nvSpPr>
          <p:spPr bwMode="auto">
            <a:xfrm>
              <a:off x="1910" y="1527"/>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5" name="Freeform 1408"/>
            <p:cNvSpPr>
              <a:spLocks/>
            </p:cNvSpPr>
            <p:nvPr/>
          </p:nvSpPr>
          <p:spPr bwMode="auto">
            <a:xfrm>
              <a:off x="1870" y="1345"/>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6" name="Freeform 1409"/>
            <p:cNvSpPr>
              <a:spLocks/>
            </p:cNvSpPr>
            <p:nvPr/>
          </p:nvSpPr>
          <p:spPr bwMode="auto">
            <a:xfrm>
              <a:off x="1769" y="1340"/>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7" name="Freeform 1410"/>
            <p:cNvSpPr>
              <a:spLocks/>
            </p:cNvSpPr>
            <p:nvPr/>
          </p:nvSpPr>
          <p:spPr bwMode="auto">
            <a:xfrm>
              <a:off x="1211" y="1409"/>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8" name="Freeform 1411"/>
            <p:cNvSpPr>
              <a:spLocks/>
            </p:cNvSpPr>
            <p:nvPr/>
          </p:nvSpPr>
          <p:spPr bwMode="auto">
            <a:xfrm>
              <a:off x="1679" y="1100"/>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9" name="Freeform 1412"/>
            <p:cNvSpPr>
              <a:spLocks/>
            </p:cNvSpPr>
            <p:nvPr/>
          </p:nvSpPr>
          <p:spPr bwMode="auto">
            <a:xfrm>
              <a:off x="1598" y="1075"/>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0" name="Freeform 1413"/>
            <p:cNvSpPr>
              <a:spLocks/>
            </p:cNvSpPr>
            <p:nvPr/>
          </p:nvSpPr>
          <p:spPr bwMode="auto">
            <a:xfrm>
              <a:off x="1704" y="1035"/>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1" name="Freeform 1414"/>
            <p:cNvSpPr>
              <a:spLocks/>
            </p:cNvSpPr>
            <p:nvPr/>
          </p:nvSpPr>
          <p:spPr bwMode="auto">
            <a:xfrm>
              <a:off x="1774" y="1035"/>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2" name="Freeform 1415"/>
            <p:cNvSpPr>
              <a:spLocks/>
            </p:cNvSpPr>
            <p:nvPr/>
          </p:nvSpPr>
          <p:spPr bwMode="auto">
            <a:xfrm>
              <a:off x="1806" y="1228"/>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3" name="Freeform 1416"/>
            <p:cNvSpPr>
              <a:spLocks/>
            </p:cNvSpPr>
            <p:nvPr/>
          </p:nvSpPr>
          <p:spPr bwMode="auto">
            <a:xfrm>
              <a:off x="1806" y="1222"/>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4" name="Freeform 1417"/>
            <p:cNvSpPr>
              <a:spLocks/>
            </p:cNvSpPr>
            <p:nvPr/>
          </p:nvSpPr>
          <p:spPr bwMode="auto">
            <a:xfrm>
              <a:off x="1273" y="1483"/>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5" name="Freeform 1418"/>
            <p:cNvSpPr>
              <a:spLocks/>
            </p:cNvSpPr>
            <p:nvPr/>
          </p:nvSpPr>
          <p:spPr bwMode="auto">
            <a:xfrm>
              <a:off x="1266" y="1498"/>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776" name="Freeform 1420"/>
          <p:cNvSpPr>
            <a:spLocks/>
          </p:cNvSpPr>
          <p:nvPr userDrawn="1"/>
        </p:nvSpPr>
        <p:spPr bwMode="auto">
          <a:xfrm>
            <a:off x="3446587" y="2976121"/>
            <a:ext cx="7338" cy="7997"/>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7" name="Freeform 1421"/>
          <p:cNvSpPr>
            <a:spLocks/>
          </p:cNvSpPr>
          <p:nvPr userDrawn="1"/>
        </p:nvSpPr>
        <p:spPr bwMode="auto">
          <a:xfrm>
            <a:off x="3837305" y="2250422"/>
            <a:ext cx="53196" cy="55977"/>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8" name="Freeform 1422"/>
          <p:cNvSpPr>
            <a:spLocks/>
          </p:cNvSpPr>
          <p:nvPr userDrawn="1"/>
        </p:nvSpPr>
        <p:spPr bwMode="auto">
          <a:xfrm>
            <a:off x="3767599" y="2380368"/>
            <a:ext cx="53196" cy="39983"/>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9" name="Freeform 1423"/>
          <p:cNvSpPr>
            <a:spLocks/>
          </p:cNvSpPr>
          <p:nvPr userDrawn="1"/>
        </p:nvSpPr>
        <p:spPr bwMode="auto">
          <a:xfrm>
            <a:off x="3228299" y="2428348"/>
            <a:ext cx="60534" cy="65973"/>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0" name="Freeform 1424"/>
          <p:cNvSpPr>
            <a:spLocks/>
          </p:cNvSpPr>
          <p:nvPr userDrawn="1"/>
        </p:nvSpPr>
        <p:spPr bwMode="auto">
          <a:xfrm>
            <a:off x="2945808" y="1860584"/>
            <a:ext cx="60534" cy="23991"/>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1" name="Freeform 1425"/>
          <p:cNvSpPr>
            <a:spLocks/>
          </p:cNvSpPr>
          <p:nvPr userDrawn="1"/>
        </p:nvSpPr>
        <p:spPr bwMode="auto">
          <a:xfrm>
            <a:off x="3448421" y="2970122"/>
            <a:ext cx="16509" cy="5998"/>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2" name="Freeform 1426"/>
          <p:cNvSpPr>
            <a:spLocks/>
          </p:cNvSpPr>
          <p:nvPr userDrawn="1"/>
        </p:nvSpPr>
        <p:spPr bwMode="auto">
          <a:xfrm>
            <a:off x="2865096" y="1568705"/>
            <a:ext cx="1113455" cy="1403417"/>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3" name="Freeform 1429"/>
          <p:cNvSpPr>
            <a:spLocks/>
          </p:cNvSpPr>
          <p:nvPr userDrawn="1"/>
        </p:nvSpPr>
        <p:spPr bwMode="auto">
          <a:xfrm>
            <a:off x="5300825" y="2480196"/>
            <a:ext cx="42201" cy="49972"/>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4" name="Freeform 1430"/>
          <p:cNvSpPr>
            <a:spLocks/>
          </p:cNvSpPr>
          <p:nvPr userDrawn="1"/>
        </p:nvSpPr>
        <p:spPr bwMode="auto">
          <a:xfrm>
            <a:off x="6330164" y="1638667"/>
            <a:ext cx="122934" cy="167907"/>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5" name="Freeform 1431"/>
          <p:cNvSpPr>
            <a:spLocks/>
          </p:cNvSpPr>
          <p:nvPr userDrawn="1"/>
        </p:nvSpPr>
        <p:spPr bwMode="auto">
          <a:xfrm>
            <a:off x="7082444" y="1974478"/>
            <a:ext cx="133943" cy="133925"/>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6" name="Freeform 1432"/>
          <p:cNvSpPr>
            <a:spLocks/>
          </p:cNvSpPr>
          <p:nvPr userDrawn="1"/>
        </p:nvSpPr>
        <p:spPr bwMode="auto">
          <a:xfrm>
            <a:off x="7176020" y="1980475"/>
            <a:ext cx="80732" cy="99944"/>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7" name="Freeform 1433"/>
          <p:cNvSpPr>
            <a:spLocks/>
          </p:cNvSpPr>
          <p:nvPr userDrawn="1"/>
        </p:nvSpPr>
        <p:spPr bwMode="auto">
          <a:xfrm>
            <a:off x="7273265" y="2034444"/>
            <a:ext cx="99081" cy="71960"/>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8" name="Freeform 1434"/>
          <p:cNvSpPr>
            <a:spLocks/>
          </p:cNvSpPr>
          <p:nvPr userDrawn="1"/>
        </p:nvSpPr>
        <p:spPr bwMode="auto">
          <a:xfrm>
            <a:off x="7141158" y="2170368"/>
            <a:ext cx="78897" cy="53970"/>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9" name="Freeform 1435"/>
          <p:cNvSpPr>
            <a:spLocks/>
          </p:cNvSpPr>
          <p:nvPr userDrawn="1"/>
        </p:nvSpPr>
        <p:spPr bwMode="auto">
          <a:xfrm>
            <a:off x="5366879" y="2212347"/>
            <a:ext cx="124769" cy="203885"/>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0" name="Freeform 1436"/>
          <p:cNvSpPr>
            <a:spLocks/>
          </p:cNvSpPr>
          <p:nvPr userDrawn="1"/>
        </p:nvSpPr>
        <p:spPr bwMode="auto">
          <a:xfrm>
            <a:off x="5410916" y="1906516"/>
            <a:ext cx="310086" cy="317822"/>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1" name="Freeform 1437"/>
          <p:cNvSpPr>
            <a:spLocks/>
          </p:cNvSpPr>
          <p:nvPr userDrawn="1"/>
        </p:nvSpPr>
        <p:spPr bwMode="auto">
          <a:xfrm>
            <a:off x="5385227" y="2358264"/>
            <a:ext cx="16514" cy="31982"/>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2" name="Freeform 1438"/>
          <p:cNvSpPr>
            <a:spLocks/>
          </p:cNvSpPr>
          <p:nvPr userDrawn="1"/>
        </p:nvSpPr>
        <p:spPr bwMode="auto">
          <a:xfrm>
            <a:off x="7131984" y="2276311"/>
            <a:ext cx="31192" cy="25985"/>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3" name="Freeform 1439"/>
          <p:cNvSpPr>
            <a:spLocks/>
          </p:cNvSpPr>
          <p:nvPr userDrawn="1"/>
        </p:nvSpPr>
        <p:spPr bwMode="auto">
          <a:xfrm>
            <a:off x="5509996" y="2420229"/>
            <a:ext cx="40366" cy="49972"/>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4" name="Freeform 1440"/>
          <p:cNvSpPr>
            <a:spLocks/>
          </p:cNvSpPr>
          <p:nvPr userDrawn="1"/>
        </p:nvSpPr>
        <p:spPr bwMode="auto">
          <a:xfrm>
            <a:off x="6199890" y="1568704"/>
            <a:ext cx="148621" cy="149916"/>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5" name="Freeform 1441"/>
          <p:cNvSpPr>
            <a:spLocks/>
          </p:cNvSpPr>
          <p:nvPr userDrawn="1"/>
        </p:nvSpPr>
        <p:spPr bwMode="auto">
          <a:xfrm>
            <a:off x="7922794" y="2344271"/>
            <a:ext cx="80732" cy="49972"/>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6" name="Freeform 1442"/>
          <p:cNvSpPr>
            <a:spLocks/>
          </p:cNvSpPr>
          <p:nvPr userDrawn="1"/>
        </p:nvSpPr>
        <p:spPr bwMode="auto">
          <a:xfrm>
            <a:off x="4884320" y="1830558"/>
            <a:ext cx="3277002" cy="1800994"/>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7" name="Freeform 1443"/>
          <p:cNvSpPr>
            <a:spLocks/>
          </p:cNvSpPr>
          <p:nvPr userDrawn="1"/>
        </p:nvSpPr>
        <p:spPr bwMode="auto">
          <a:xfrm>
            <a:off x="4724689" y="3147823"/>
            <a:ext cx="66054" cy="53970"/>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8" name="Freeform 1444"/>
          <p:cNvSpPr>
            <a:spLocks/>
          </p:cNvSpPr>
          <p:nvPr userDrawn="1"/>
        </p:nvSpPr>
        <p:spPr bwMode="auto">
          <a:xfrm>
            <a:off x="7185193" y="3201793"/>
            <a:ext cx="62383" cy="287839"/>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9" name="Freeform 1447"/>
          <p:cNvSpPr>
            <a:spLocks/>
          </p:cNvSpPr>
          <p:nvPr userDrawn="1"/>
        </p:nvSpPr>
        <p:spPr bwMode="auto">
          <a:xfrm>
            <a:off x="7243851" y="5591958"/>
            <a:ext cx="73387" cy="85955"/>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0" name="Freeform 1448"/>
          <p:cNvSpPr>
            <a:spLocks/>
          </p:cNvSpPr>
          <p:nvPr userDrawn="1"/>
        </p:nvSpPr>
        <p:spPr bwMode="auto">
          <a:xfrm>
            <a:off x="6607211" y="4854339"/>
            <a:ext cx="814606" cy="693640"/>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1" name="Freeform 1450"/>
          <p:cNvSpPr>
            <a:spLocks/>
          </p:cNvSpPr>
          <p:nvPr userDrawn="1"/>
        </p:nvSpPr>
        <p:spPr bwMode="auto">
          <a:xfrm>
            <a:off x="7680509" y="5589959"/>
            <a:ext cx="155949" cy="183904"/>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2" name="Freeform 1451"/>
          <p:cNvSpPr>
            <a:spLocks/>
          </p:cNvSpPr>
          <p:nvPr userDrawn="1"/>
        </p:nvSpPr>
        <p:spPr bwMode="auto">
          <a:xfrm>
            <a:off x="7805268" y="5420048"/>
            <a:ext cx="115586" cy="197897"/>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3" name="Freeform 1452"/>
          <p:cNvSpPr>
            <a:spLocks/>
          </p:cNvSpPr>
          <p:nvPr userDrawn="1"/>
        </p:nvSpPr>
        <p:spPr bwMode="auto">
          <a:xfrm>
            <a:off x="7629138" y="5070228"/>
            <a:ext cx="58710" cy="51973"/>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4" name="Freeform 1454"/>
          <p:cNvSpPr>
            <a:spLocks/>
          </p:cNvSpPr>
          <p:nvPr userDrawn="1"/>
        </p:nvSpPr>
        <p:spPr bwMode="auto">
          <a:xfrm>
            <a:off x="5134927" y="3561323"/>
            <a:ext cx="135724" cy="71945"/>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5" name="Freeform 1455"/>
          <p:cNvSpPr>
            <a:spLocks/>
          </p:cNvSpPr>
          <p:nvPr userDrawn="1"/>
        </p:nvSpPr>
        <p:spPr bwMode="auto">
          <a:xfrm>
            <a:off x="5268817" y="3159628"/>
            <a:ext cx="818012" cy="475639"/>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6" name="Freeform 1456"/>
          <p:cNvSpPr>
            <a:spLocks/>
          </p:cNvSpPr>
          <p:nvPr userDrawn="1"/>
        </p:nvSpPr>
        <p:spPr bwMode="auto">
          <a:xfrm>
            <a:off x="5459563" y="3499369"/>
            <a:ext cx="344812" cy="243815"/>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7" name="Freeform 1457"/>
          <p:cNvSpPr>
            <a:spLocks/>
          </p:cNvSpPr>
          <p:nvPr userDrawn="1"/>
        </p:nvSpPr>
        <p:spPr bwMode="auto">
          <a:xfrm>
            <a:off x="5388034" y="3583305"/>
            <a:ext cx="286122" cy="215836"/>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8" name="Freeform 1458"/>
          <p:cNvSpPr>
            <a:spLocks/>
          </p:cNvSpPr>
          <p:nvPr userDrawn="1"/>
        </p:nvSpPr>
        <p:spPr bwMode="auto">
          <a:xfrm>
            <a:off x="5725511" y="3571315"/>
            <a:ext cx="221927" cy="115912"/>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9" name="Freeform 1459"/>
          <p:cNvSpPr>
            <a:spLocks/>
          </p:cNvSpPr>
          <p:nvPr userDrawn="1"/>
        </p:nvSpPr>
        <p:spPr bwMode="auto">
          <a:xfrm>
            <a:off x="5688829" y="3635267"/>
            <a:ext cx="152231" cy="123907"/>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0" name="Freeform 1460"/>
          <p:cNvSpPr>
            <a:spLocks/>
          </p:cNvSpPr>
          <p:nvPr userDrawn="1"/>
        </p:nvSpPr>
        <p:spPr bwMode="auto">
          <a:xfrm>
            <a:off x="5206457" y="3627273"/>
            <a:ext cx="62360" cy="69947"/>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1" name="Freeform 1462"/>
          <p:cNvSpPr>
            <a:spLocks/>
          </p:cNvSpPr>
          <p:nvPr userDrawn="1"/>
        </p:nvSpPr>
        <p:spPr bwMode="auto">
          <a:xfrm>
            <a:off x="5233969" y="3673237"/>
            <a:ext cx="23843" cy="2398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2" name="Freeform 1463"/>
          <p:cNvSpPr>
            <a:spLocks/>
          </p:cNvSpPr>
          <p:nvPr userDrawn="1"/>
        </p:nvSpPr>
        <p:spPr bwMode="auto">
          <a:xfrm>
            <a:off x="5237636" y="3611285"/>
            <a:ext cx="108212" cy="97925"/>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3" name="Freeform 1465"/>
          <p:cNvSpPr>
            <a:spLocks/>
          </p:cNvSpPr>
          <p:nvPr userDrawn="1"/>
        </p:nvSpPr>
        <p:spPr bwMode="auto">
          <a:xfrm>
            <a:off x="5760359" y="3661247"/>
            <a:ext cx="5502" cy="7995"/>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4" name="Freeform 1466"/>
          <p:cNvSpPr>
            <a:spLocks/>
          </p:cNvSpPr>
          <p:nvPr userDrawn="1"/>
        </p:nvSpPr>
        <p:spPr bwMode="auto">
          <a:xfrm>
            <a:off x="5773197" y="3665245"/>
            <a:ext cx="5502" cy="3997"/>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5" name="Freeform 1467"/>
          <p:cNvSpPr>
            <a:spLocks/>
          </p:cNvSpPr>
          <p:nvPr userDrawn="1"/>
        </p:nvSpPr>
        <p:spPr bwMode="auto">
          <a:xfrm>
            <a:off x="5751188" y="3669241"/>
            <a:ext cx="3668" cy="3997"/>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6" name="Freeform 1468"/>
          <p:cNvSpPr>
            <a:spLocks/>
          </p:cNvSpPr>
          <p:nvPr userDrawn="1"/>
        </p:nvSpPr>
        <p:spPr bwMode="auto">
          <a:xfrm>
            <a:off x="5411879" y="4074934"/>
            <a:ext cx="5502" cy="3997"/>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817" name="Group 1469"/>
          <p:cNvGrpSpPr>
            <a:grpSpLocks/>
          </p:cNvGrpSpPr>
          <p:nvPr userDrawn="1"/>
        </p:nvGrpSpPr>
        <p:grpSpPr bwMode="auto">
          <a:xfrm>
            <a:off x="5378864" y="4024972"/>
            <a:ext cx="155899" cy="227827"/>
            <a:chOff x="3328" y="2264"/>
            <a:chExt cx="85" cy="114"/>
          </a:xfrm>
          <a:solidFill>
            <a:schemeClr val="bg1">
              <a:lumMod val="75000"/>
            </a:schemeClr>
          </a:solidFill>
        </p:grpSpPr>
        <p:sp>
          <p:nvSpPr>
            <p:cNvPr id="818" name="Freeform 1470"/>
            <p:cNvSpPr>
              <a:spLocks/>
            </p:cNvSpPr>
            <p:nvPr/>
          </p:nvSpPr>
          <p:spPr bwMode="auto">
            <a:xfrm>
              <a:off x="3372" y="2264"/>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9" name="Freeform 1471"/>
            <p:cNvSpPr>
              <a:spLocks/>
            </p:cNvSpPr>
            <p:nvPr/>
          </p:nvSpPr>
          <p:spPr bwMode="auto">
            <a:xfrm>
              <a:off x="3328" y="2282"/>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820" name="Freeform 1472"/>
          <p:cNvSpPr>
            <a:spLocks/>
          </p:cNvSpPr>
          <p:nvPr userDrawn="1"/>
        </p:nvSpPr>
        <p:spPr bwMode="auto">
          <a:xfrm>
            <a:off x="5035885" y="3811134"/>
            <a:ext cx="34848" cy="45965"/>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21" name="Freeform 1473"/>
          <p:cNvSpPr>
            <a:spLocks/>
          </p:cNvSpPr>
          <p:nvPr userDrawn="1"/>
        </p:nvSpPr>
        <p:spPr bwMode="auto">
          <a:xfrm>
            <a:off x="5347684" y="4026969"/>
            <a:ext cx="1834" cy="5995"/>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822" name="Group 1474"/>
          <p:cNvGrpSpPr>
            <a:grpSpLocks/>
          </p:cNvGrpSpPr>
          <p:nvPr userDrawn="1"/>
        </p:nvGrpSpPr>
        <p:grpSpPr bwMode="auto">
          <a:xfrm>
            <a:off x="5221130" y="3671240"/>
            <a:ext cx="385163" cy="383709"/>
            <a:chOff x="3242" y="2087"/>
            <a:chExt cx="210" cy="192"/>
          </a:xfrm>
          <a:solidFill>
            <a:schemeClr val="bg1">
              <a:lumMod val="75000"/>
            </a:schemeClr>
          </a:solidFill>
        </p:grpSpPr>
        <p:sp>
          <p:nvSpPr>
            <p:cNvPr id="823" name="Freeform 1475"/>
            <p:cNvSpPr>
              <a:spLocks/>
            </p:cNvSpPr>
            <p:nvPr/>
          </p:nvSpPr>
          <p:spPr bwMode="auto">
            <a:xfrm>
              <a:off x="3364" y="2257"/>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24" name="Freeform 1476"/>
            <p:cNvSpPr>
              <a:spLocks/>
            </p:cNvSpPr>
            <p:nvPr/>
          </p:nvSpPr>
          <p:spPr bwMode="auto">
            <a:xfrm>
              <a:off x="3242" y="2087"/>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825" name="Group 1477"/>
          <p:cNvGrpSpPr>
            <a:grpSpLocks/>
          </p:cNvGrpSpPr>
          <p:nvPr userDrawn="1"/>
        </p:nvGrpSpPr>
        <p:grpSpPr bwMode="auto">
          <a:xfrm>
            <a:off x="5017544" y="3849104"/>
            <a:ext cx="31180" cy="101922"/>
            <a:chOff x="3131" y="2176"/>
            <a:chExt cx="17" cy="51"/>
          </a:xfrm>
          <a:solidFill>
            <a:schemeClr val="bg1">
              <a:lumMod val="75000"/>
            </a:schemeClr>
          </a:solidFill>
        </p:grpSpPr>
        <p:sp>
          <p:nvSpPr>
            <p:cNvPr id="826" name="Freeform 1478"/>
            <p:cNvSpPr>
              <a:spLocks/>
            </p:cNvSpPr>
            <p:nvPr/>
          </p:nvSpPr>
          <p:spPr bwMode="auto">
            <a:xfrm>
              <a:off x="3139" y="2186"/>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27" name="Freeform 1479"/>
            <p:cNvSpPr>
              <a:spLocks/>
            </p:cNvSpPr>
            <p:nvPr/>
          </p:nvSpPr>
          <p:spPr bwMode="auto">
            <a:xfrm>
              <a:off x="3131" y="2199"/>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28" name="Freeform 1480"/>
            <p:cNvSpPr>
              <a:spLocks/>
            </p:cNvSpPr>
            <p:nvPr/>
          </p:nvSpPr>
          <p:spPr bwMode="auto">
            <a:xfrm>
              <a:off x="3132" y="2176"/>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829" name="Freeform 1481"/>
          <p:cNvSpPr>
            <a:spLocks/>
          </p:cNvSpPr>
          <p:nvPr userDrawn="1"/>
        </p:nvSpPr>
        <p:spPr bwMode="auto">
          <a:xfrm>
            <a:off x="5112918" y="3737188"/>
            <a:ext cx="196250" cy="217834"/>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0" name="Freeform 1482"/>
          <p:cNvSpPr>
            <a:spLocks/>
          </p:cNvSpPr>
          <p:nvPr userDrawn="1"/>
        </p:nvSpPr>
        <p:spPr bwMode="auto">
          <a:xfrm>
            <a:off x="5353187" y="4028967"/>
            <a:ext cx="16507" cy="3997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1" name="Freeform 1483"/>
          <p:cNvSpPr>
            <a:spLocks/>
          </p:cNvSpPr>
          <p:nvPr userDrawn="1"/>
        </p:nvSpPr>
        <p:spPr bwMode="auto">
          <a:xfrm>
            <a:off x="5270651" y="3933041"/>
            <a:ext cx="34848" cy="37971"/>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2" name="Freeform 1484"/>
          <p:cNvSpPr>
            <a:spLocks/>
          </p:cNvSpPr>
          <p:nvPr userDrawn="1"/>
        </p:nvSpPr>
        <p:spPr bwMode="auto">
          <a:xfrm>
            <a:off x="5358689" y="4030967"/>
            <a:ext cx="106378" cy="85935"/>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3" name="Freeform 1485"/>
          <p:cNvSpPr>
            <a:spLocks/>
          </p:cNvSpPr>
          <p:nvPr userDrawn="1"/>
        </p:nvSpPr>
        <p:spPr bwMode="auto">
          <a:xfrm>
            <a:off x="5189950" y="4198840"/>
            <a:ext cx="209088" cy="143891"/>
          </a:xfrm>
          <a:custGeom>
            <a:avLst/>
            <a:gdLst/>
            <a:ahLst/>
            <a:cxnLst>
              <a:cxn ang="0">
                <a:pos x="551" y="145"/>
              </a:cxn>
              <a:cxn ang="0">
                <a:pos x="533" y="162"/>
              </a:cxn>
              <a:cxn ang="0">
                <a:pos x="528" y="183"/>
              </a:cxn>
              <a:cxn ang="0">
                <a:pos x="529" y="193"/>
              </a:cxn>
              <a:cxn ang="0">
                <a:pos x="523" y="198"/>
              </a:cxn>
              <a:cxn ang="0">
                <a:pos x="510" y="199"/>
              </a:cxn>
              <a:cxn ang="0">
                <a:pos x="486" y="212"/>
              </a:cxn>
              <a:cxn ang="0">
                <a:pos x="461" y="220"/>
              </a:cxn>
              <a:cxn ang="0">
                <a:pos x="437" y="228"/>
              </a:cxn>
              <a:cxn ang="0">
                <a:pos x="408" y="239"/>
              </a:cxn>
              <a:cxn ang="0">
                <a:pos x="381" y="243"/>
              </a:cxn>
              <a:cxn ang="0">
                <a:pos x="354" y="256"/>
              </a:cxn>
              <a:cxn ang="0">
                <a:pos x="346" y="271"/>
              </a:cxn>
              <a:cxn ang="0">
                <a:pos x="330" y="285"/>
              </a:cxn>
              <a:cxn ang="0">
                <a:pos x="324" y="288"/>
              </a:cxn>
              <a:cxn ang="0">
                <a:pos x="285" y="290"/>
              </a:cxn>
              <a:cxn ang="0">
                <a:pos x="269" y="303"/>
              </a:cxn>
              <a:cxn ang="0">
                <a:pos x="247" y="314"/>
              </a:cxn>
              <a:cxn ang="0">
                <a:pos x="217" y="320"/>
              </a:cxn>
              <a:cxn ang="0">
                <a:pos x="194" y="319"/>
              </a:cxn>
              <a:cxn ang="0">
                <a:pos x="173" y="320"/>
              </a:cxn>
              <a:cxn ang="0">
                <a:pos x="156" y="339"/>
              </a:cxn>
              <a:cxn ang="0">
                <a:pos x="124" y="356"/>
              </a:cxn>
              <a:cxn ang="0">
                <a:pos x="86" y="361"/>
              </a:cxn>
              <a:cxn ang="0">
                <a:pos x="70" y="362"/>
              </a:cxn>
              <a:cxn ang="0">
                <a:pos x="48" y="357"/>
              </a:cxn>
              <a:cxn ang="0">
                <a:pos x="32" y="330"/>
              </a:cxn>
              <a:cxn ang="0">
                <a:pos x="31" y="295"/>
              </a:cxn>
              <a:cxn ang="0">
                <a:pos x="23" y="282"/>
              </a:cxn>
              <a:cxn ang="0">
                <a:pos x="17" y="247"/>
              </a:cxn>
              <a:cxn ang="0">
                <a:pos x="11" y="234"/>
              </a:cxn>
              <a:cxn ang="0">
                <a:pos x="2" y="215"/>
              </a:cxn>
              <a:cxn ang="0">
                <a:pos x="2" y="210"/>
              </a:cxn>
              <a:cxn ang="0">
                <a:pos x="5" y="206"/>
              </a:cxn>
              <a:cxn ang="0">
                <a:pos x="2" y="193"/>
              </a:cxn>
              <a:cxn ang="0">
                <a:pos x="7" y="183"/>
              </a:cxn>
              <a:cxn ang="0">
                <a:pos x="7" y="162"/>
              </a:cxn>
              <a:cxn ang="0">
                <a:pos x="4" y="148"/>
              </a:cxn>
              <a:cxn ang="0">
                <a:pos x="20" y="139"/>
              </a:cxn>
              <a:cxn ang="0">
                <a:pos x="27" y="126"/>
              </a:cxn>
              <a:cxn ang="0">
                <a:pos x="39" y="116"/>
              </a:cxn>
              <a:cxn ang="0">
                <a:pos x="66" y="110"/>
              </a:cxn>
              <a:cxn ang="0">
                <a:pos x="201" y="132"/>
              </a:cxn>
              <a:cxn ang="0">
                <a:pos x="339" y="40"/>
              </a:cxn>
              <a:cxn ang="0">
                <a:pos x="570" y="137"/>
              </a:cxn>
            </a:cxnLst>
            <a:rect l="0" t="0" r="r" b="b"/>
            <a:pathLst>
              <a:path w="570" h="362">
                <a:moveTo>
                  <a:pt x="570" y="137"/>
                </a:moveTo>
                <a:lnTo>
                  <a:pt x="551" y="145"/>
                </a:lnTo>
                <a:lnTo>
                  <a:pt x="540" y="153"/>
                </a:lnTo>
                <a:lnTo>
                  <a:pt x="533" y="162"/>
                </a:lnTo>
                <a:lnTo>
                  <a:pt x="526" y="177"/>
                </a:lnTo>
                <a:lnTo>
                  <a:pt x="528" y="183"/>
                </a:lnTo>
                <a:lnTo>
                  <a:pt x="529" y="191"/>
                </a:lnTo>
                <a:lnTo>
                  <a:pt x="529" y="193"/>
                </a:lnTo>
                <a:lnTo>
                  <a:pt x="526" y="195"/>
                </a:lnTo>
                <a:lnTo>
                  <a:pt x="523" y="198"/>
                </a:lnTo>
                <a:lnTo>
                  <a:pt x="516" y="196"/>
                </a:lnTo>
                <a:lnTo>
                  <a:pt x="510" y="199"/>
                </a:lnTo>
                <a:lnTo>
                  <a:pt x="496" y="202"/>
                </a:lnTo>
                <a:lnTo>
                  <a:pt x="486" y="212"/>
                </a:lnTo>
                <a:lnTo>
                  <a:pt x="475" y="217"/>
                </a:lnTo>
                <a:lnTo>
                  <a:pt x="461" y="220"/>
                </a:lnTo>
                <a:lnTo>
                  <a:pt x="451" y="221"/>
                </a:lnTo>
                <a:lnTo>
                  <a:pt x="437" y="228"/>
                </a:lnTo>
                <a:lnTo>
                  <a:pt x="427" y="231"/>
                </a:lnTo>
                <a:lnTo>
                  <a:pt x="408" y="239"/>
                </a:lnTo>
                <a:lnTo>
                  <a:pt x="398" y="241"/>
                </a:lnTo>
                <a:lnTo>
                  <a:pt x="381" y="243"/>
                </a:lnTo>
                <a:lnTo>
                  <a:pt x="364" y="252"/>
                </a:lnTo>
                <a:lnTo>
                  <a:pt x="354" y="256"/>
                </a:lnTo>
                <a:lnTo>
                  <a:pt x="351" y="264"/>
                </a:lnTo>
                <a:lnTo>
                  <a:pt x="346" y="271"/>
                </a:lnTo>
                <a:lnTo>
                  <a:pt x="335" y="281"/>
                </a:lnTo>
                <a:lnTo>
                  <a:pt x="330" y="285"/>
                </a:lnTo>
                <a:lnTo>
                  <a:pt x="328" y="287"/>
                </a:lnTo>
                <a:lnTo>
                  <a:pt x="324" y="288"/>
                </a:lnTo>
                <a:lnTo>
                  <a:pt x="298" y="287"/>
                </a:lnTo>
                <a:lnTo>
                  <a:pt x="285" y="290"/>
                </a:lnTo>
                <a:lnTo>
                  <a:pt x="274" y="297"/>
                </a:lnTo>
                <a:lnTo>
                  <a:pt x="269" y="303"/>
                </a:lnTo>
                <a:lnTo>
                  <a:pt x="253" y="313"/>
                </a:lnTo>
                <a:lnTo>
                  <a:pt x="247" y="314"/>
                </a:lnTo>
                <a:lnTo>
                  <a:pt x="227" y="319"/>
                </a:lnTo>
                <a:lnTo>
                  <a:pt x="217" y="320"/>
                </a:lnTo>
                <a:lnTo>
                  <a:pt x="206" y="318"/>
                </a:lnTo>
                <a:lnTo>
                  <a:pt x="194" y="319"/>
                </a:lnTo>
                <a:lnTo>
                  <a:pt x="185" y="319"/>
                </a:lnTo>
                <a:lnTo>
                  <a:pt x="173" y="320"/>
                </a:lnTo>
                <a:lnTo>
                  <a:pt x="163" y="327"/>
                </a:lnTo>
                <a:lnTo>
                  <a:pt x="156" y="339"/>
                </a:lnTo>
                <a:lnTo>
                  <a:pt x="134" y="350"/>
                </a:lnTo>
                <a:lnTo>
                  <a:pt x="124" y="356"/>
                </a:lnTo>
                <a:lnTo>
                  <a:pt x="101" y="356"/>
                </a:lnTo>
                <a:lnTo>
                  <a:pt x="86" y="361"/>
                </a:lnTo>
                <a:lnTo>
                  <a:pt x="77" y="360"/>
                </a:lnTo>
                <a:lnTo>
                  <a:pt x="70" y="362"/>
                </a:lnTo>
                <a:lnTo>
                  <a:pt x="60" y="357"/>
                </a:lnTo>
                <a:lnTo>
                  <a:pt x="48" y="357"/>
                </a:lnTo>
                <a:lnTo>
                  <a:pt x="43" y="344"/>
                </a:lnTo>
                <a:lnTo>
                  <a:pt x="32" y="330"/>
                </a:lnTo>
                <a:lnTo>
                  <a:pt x="32" y="304"/>
                </a:lnTo>
                <a:lnTo>
                  <a:pt x="31" y="295"/>
                </a:lnTo>
                <a:lnTo>
                  <a:pt x="26" y="290"/>
                </a:lnTo>
                <a:lnTo>
                  <a:pt x="23" y="282"/>
                </a:lnTo>
                <a:lnTo>
                  <a:pt x="20" y="266"/>
                </a:lnTo>
                <a:lnTo>
                  <a:pt x="17" y="247"/>
                </a:lnTo>
                <a:lnTo>
                  <a:pt x="15" y="239"/>
                </a:lnTo>
                <a:lnTo>
                  <a:pt x="11" y="234"/>
                </a:lnTo>
                <a:lnTo>
                  <a:pt x="11" y="226"/>
                </a:lnTo>
                <a:lnTo>
                  <a:pt x="2" y="215"/>
                </a:lnTo>
                <a:lnTo>
                  <a:pt x="0" y="211"/>
                </a:lnTo>
                <a:lnTo>
                  <a:pt x="2" y="210"/>
                </a:lnTo>
                <a:lnTo>
                  <a:pt x="5" y="210"/>
                </a:lnTo>
                <a:lnTo>
                  <a:pt x="5" y="206"/>
                </a:lnTo>
                <a:lnTo>
                  <a:pt x="2" y="202"/>
                </a:lnTo>
                <a:lnTo>
                  <a:pt x="2" y="193"/>
                </a:lnTo>
                <a:lnTo>
                  <a:pt x="1" y="188"/>
                </a:lnTo>
                <a:lnTo>
                  <a:pt x="7" y="183"/>
                </a:lnTo>
                <a:lnTo>
                  <a:pt x="9" y="178"/>
                </a:lnTo>
                <a:lnTo>
                  <a:pt x="7" y="162"/>
                </a:lnTo>
                <a:lnTo>
                  <a:pt x="5" y="151"/>
                </a:lnTo>
                <a:lnTo>
                  <a:pt x="4" y="148"/>
                </a:lnTo>
                <a:lnTo>
                  <a:pt x="15" y="143"/>
                </a:lnTo>
                <a:lnTo>
                  <a:pt x="20" y="139"/>
                </a:lnTo>
                <a:lnTo>
                  <a:pt x="21" y="131"/>
                </a:lnTo>
                <a:lnTo>
                  <a:pt x="27" y="126"/>
                </a:lnTo>
                <a:lnTo>
                  <a:pt x="36" y="123"/>
                </a:lnTo>
                <a:lnTo>
                  <a:pt x="39" y="116"/>
                </a:lnTo>
                <a:lnTo>
                  <a:pt x="44" y="112"/>
                </a:lnTo>
                <a:lnTo>
                  <a:pt x="66" y="110"/>
                </a:lnTo>
                <a:lnTo>
                  <a:pt x="101" y="98"/>
                </a:lnTo>
                <a:lnTo>
                  <a:pt x="201" y="132"/>
                </a:lnTo>
                <a:lnTo>
                  <a:pt x="201" y="194"/>
                </a:lnTo>
                <a:lnTo>
                  <a:pt x="339" y="40"/>
                </a:lnTo>
                <a:lnTo>
                  <a:pt x="513" y="0"/>
                </a:lnTo>
                <a:lnTo>
                  <a:pt x="570" y="1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834" name="Group 1486"/>
          <p:cNvGrpSpPr>
            <a:grpSpLocks/>
          </p:cNvGrpSpPr>
          <p:nvPr userDrawn="1"/>
        </p:nvGrpSpPr>
        <p:grpSpPr bwMode="auto">
          <a:xfrm>
            <a:off x="4857966" y="3605290"/>
            <a:ext cx="375991" cy="175867"/>
            <a:chOff x="3044" y="2054"/>
            <a:chExt cx="205" cy="88"/>
          </a:xfrm>
          <a:solidFill>
            <a:schemeClr val="bg1">
              <a:lumMod val="75000"/>
            </a:schemeClr>
          </a:solidFill>
        </p:grpSpPr>
        <p:sp>
          <p:nvSpPr>
            <p:cNvPr id="835" name="Freeform 1487"/>
            <p:cNvSpPr>
              <a:spLocks/>
            </p:cNvSpPr>
            <p:nvPr/>
          </p:nvSpPr>
          <p:spPr bwMode="auto">
            <a:xfrm>
              <a:off x="3045" y="2054"/>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6" name="Freeform 1488"/>
            <p:cNvSpPr>
              <a:spLocks/>
            </p:cNvSpPr>
            <p:nvPr/>
          </p:nvSpPr>
          <p:spPr bwMode="auto">
            <a:xfrm>
              <a:off x="3044" y="2055"/>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837" name="Freeform 1489"/>
          <p:cNvSpPr>
            <a:spLocks/>
          </p:cNvSpPr>
          <p:nvPr userDrawn="1"/>
        </p:nvSpPr>
        <p:spPr bwMode="auto">
          <a:xfrm>
            <a:off x="5034051" y="3847105"/>
            <a:ext cx="86203" cy="107918"/>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8" name="Freeform 1490"/>
          <p:cNvSpPr>
            <a:spLocks/>
          </p:cNvSpPr>
          <p:nvPr userDrawn="1"/>
        </p:nvSpPr>
        <p:spPr bwMode="auto">
          <a:xfrm>
            <a:off x="5046890" y="3741186"/>
            <a:ext cx="141226" cy="133899"/>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9" name="Freeform 1491"/>
          <p:cNvSpPr>
            <a:spLocks/>
          </p:cNvSpPr>
          <p:nvPr userDrawn="1"/>
        </p:nvSpPr>
        <p:spPr bwMode="auto">
          <a:xfrm>
            <a:off x="5028549" y="3877082"/>
            <a:ext cx="423679" cy="399697"/>
          </a:xfrm>
          <a:custGeom>
            <a:avLst/>
            <a:gdLst/>
            <a:ahLst/>
            <a:cxnLst>
              <a:cxn ang="0">
                <a:pos x="684" y="202"/>
              </a:cxn>
              <a:cxn ang="0">
                <a:pos x="721" y="231"/>
              </a:cxn>
              <a:cxn ang="0">
                <a:pos x="762" y="247"/>
              </a:cxn>
              <a:cxn ang="0">
                <a:pos x="776" y="275"/>
              </a:cxn>
              <a:cxn ang="0">
                <a:pos x="805" y="299"/>
              </a:cxn>
              <a:cxn ang="0">
                <a:pos x="805" y="308"/>
              </a:cxn>
              <a:cxn ang="0">
                <a:pos x="820" y="324"/>
              </a:cxn>
              <a:cxn ang="0">
                <a:pos x="846" y="345"/>
              </a:cxn>
              <a:cxn ang="0">
                <a:pos x="854" y="368"/>
              </a:cxn>
              <a:cxn ang="0">
                <a:pos x="850" y="387"/>
              </a:cxn>
              <a:cxn ang="0">
                <a:pos x="872" y="425"/>
              </a:cxn>
              <a:cxn ang="0">
                <a:pos x="881" y="455"/>
              </a:cxn>
              <a:cxn ang="0">
                <a:pos x="888" y="463"/>
              </a:cxn>
              <a:cxn ang="0">
                <a:pos x="905" y="491"/>
              </a:cxn>
              <a:cxn ang="0">
                <a:pos x="1119" y="599"/>
              </a:cxn>
              <a:cxn ang="0">
                <a:pos x="1119" y="744"/>
              </a:cxn>
              <a:cxn ang="0">
                <a:pos x="642" y="996"/>
              </a:cxn>
              <a:cxn ang="0">
                <a:pos x="507" y="912"/>
              </a:cxn>
              <a:cxn ang="0">
                <a:pos x="477" y="925"/>
              </a:cxn>
              <a:cxn ang="0">
                <a:pos x="461" y="941"/>
              </a:cxn>
              <a:cxn ang="0">
                <a:pos x="442" y="944"/>
              </a:cxn>
              <a:cxn ang="0">
                <a:pos x="426" y="911"/>
              </a:cxn>
              <a:cxn ang="0">
                <a:pos x="399" y="869"/>
              </a:cxn>
              <a:cxn ang="0">
                <a:pos x="376" y="844"/>
              </a:cxn>
              <a:cxn ang="0">
                <a:pos x="359" y="815"/>
              </a:cxn>
              <a:cxn ang="0">
                <a:pos x="351" y="783"/>
              </a:cxn>
              <a:cxn ang="0">
                <a:pos x="335" y="760"/>
              </a:cxn>
              <a:cxn ang="0">
                <a:pos x="317" y="739"/>
              </a:cxn>
              <a:cxn ang="0">
                <a:pos x="291" y="726"/>
              </a:cxn>
              <a:cxn ang="0">
                <a:pos x="264" y="708"/>
              </a:cxn>
              <a:cxn ang="0">
                <a:pos x="251" y="680"/>
              </a:cxn>
              <a:cxn ang="0">
                <a:pos x="239" y="627"/>
              </a:cxn>
              <a:cxn ang="0">
                <a:pos x="246" y="604"/>
              </a:cxn>
              <a:cxn ang="0">
                <a:pos x="233" y="578"/>
              </a:cxn>
              <a:cxn ang="0">
                <a:pos x="225" y="554"/>
              </a:cxn>
              <a:cxn ang="0">
                <a:pos x="193" y="506"/>
              </a:cxn>
              <a:cxn ang="0">
                <a:pos x="178" y="496"/>
              </a:cxn>
              <a:cxn ang="0">
                <a:pos x="162" y="489"/>
              </a:cxn>
              <a:cxn ang="0">
                <a:pos x="153" y="481"/>
              </a:cxn>
              <a:cxn ang="0">
                <a:pos x="141" y="455"/>
              </a:cxn>
              <a:cxn ang="0">
                <a:pos x="128" y="416"/>
              </a:cxn>
              <a:cxn ang="0">
                <a:pos x="109" y="395"/>
              </a:cxn>
              <a:cxn ang="0">
                <a:pos x="87" y="350"/>
              </a:cxn>
              <a:cxn ang="0">
                <a:pos x="61" y="319"/>
              </a:cxn>
              <a:cxn ang="0">
                <a:pos x="45" y="288"/>
              </a:cxn>
              <a:cxn ang="0">
                <a:pos x="17" y="259"/>
              </a:cxn>
              <a:cxn ang="0">
                <a:pos x="2" y="258"/>
              </a:cxn>
              <a:cxn ang="0">
                <a:pos x="12" y="211"/>
              </a:cxn>
              <a:cxn ang="0">
                <a:pos x="17" y="178"/>
              </a:cxn>
              <a:cxn ang="0">
                <a:pos x="98" y="177"/>
              </a:cxn>
              <a:cxn ang="0">
                <a:pos x="156" y="142"/>
              </a:cxn>
              <a:cxn ang="0">
                <a:pos x="185" y="104"/>
              </a:cxn>
              <a:cxn ang="0">
                <a:pos x="125" y="43"/>
              </a:cxn>
              <a:cxn ang="0">
                <a:pos x="248" y="0"/>
              </a:cxn>
              <a:cxn ang="0">
                <a:pos x="450" y="91"/>
              </a:cxn>
              <a:cxn ang="0">
                <a:pos x="493" y="116"/>
              </a:cxn>
              <a:cxn ang="0">
                <a:pos x="497" y="162"/>
              </a:cxn>
            </a:cxnLst>
            <a:rect l="0" t="0" r="r" b="b"/>
            <a:pathLst>
              <a:path w="1157" h="996">
                <a:moveTo>
                  <a:pt x="658" y="195"/>
                </a:moveTo>
                <a:lnTo>
                  <a:pt x="662" y="197"/>
                </a:lnTo>
                <a:lnTo>
                  <a:pt x="684" y="202"/>
                </a:lnTo>
                <a:lnTo>
                  <a:pt x="704" y="209"/>
                </a:lnTo>
                <a:lnTo>
                  <a:pt x="711" y="216"/>
                </a:lnTo>
                <a:lnTo>
                  <a:pt x="721" y="231"/>
                </a:lnTo>
                <a:lnTo>
                  <a:pt x="754" y="231"/>
                </a:lnTo>
                <a:lnTo>
                  <a:pt x="758" y="237"/>
                </a:lnTo>
                <a:lnTo>
                  <a:pt x="762" y="247"/>
                </a:lnTo>
                <a:lnTo>
                  <a:pt x="765" y="251"/>
                </a:lnTo>
                <a:lnTo>
                  <a:pt x="766" y="259"/>
                </a:lnTo>
                <a:lnTo>
                  <a:pt x="776" y="275"/>
                </a:lnTo>
                <a:lnTo>
                  <a:pt x="785" y="277"/>
                </a:lnTo>
                <a:lnTo>
                  <a:pt x="791" y="290"/>
                </a:lnTo>
                <a:lnTo>
                  <a:pt x="805" y="299"/>
                </a:lnTo>
                <a:lnTo>
                  <a:pt x="805" y="301"/>
                </a:lnTo>
                <a:lnTo>
                  <a:pt x="802" y="304"/>
                </a:lnTo>
                <a:lnTo>
                  <a:pt x="805" y="308"/>
                </a:lnTo>
                <a:lnTo>
                  <a:pt x="807" y="318"/>
                </a:lnTo>
                <a:lnTo>
                  <a:pt x="817" y="320"/>
                </a:lnTo>
                <a:lnTo>
                  <a:pt x="820" y="324"/>
                </a:lnTo>
                <a:lnTo>
                  <a:pt x="836" y="335"/>
                </a:lnTo>
                <a:lnTo>
                  <a:pt x="843" y="339"/>
                </a:lnTo>
                <a:lnTo>
                  <a:pt x="846" y="345"/>
                </a:lnTo>
                <a:lnTo>
                  <a:pt x="848" y="347"/>
                </a:lnTo>
                <a:lnTo>
                  <a:pt x="845" y="357"/>
                </a:lnTo>
                <a:lnTo>
                  <a:pt x="854" y="368"/>
                </a:lnTo>
                <a:lnTo>
                  <a:pt x="855" y="376"/>
                </a:lnTo>
                <a:lnTo>
                  <a:pt x="855" y="380"/>
                </a:lnTo>
                <a:lnTo>
                  <a:pt x="850" y="387"/>
                </a:lnTo>
                <a:lnTo>
                  <a:pt x="850" y="399"/>
                </a:lnTo>
                <a:lnTo>
                  <a:pt x="857" y="409"/>
                </a:lnTo>
                <a:lnTo>
                  <a:pt x="872" y="425"/>
                </a:lnTo>
                <a:lnTo>
                  <a:pt x="875" y="443"/>
                </a:lnTo>
                <a:lnTo>
                  <a:pt x="881" y="450"/>
                </a:lnTo>
                <a:lnTo>
                  <a:pt x="881" y="455"/>
                </a:lnTo>
                <a:lnTo>
                  <a:pt x="883" y="458"/>
                </a:lnTo>
                <a:lnTo>
                  <a:pt x="886" y="463"/>
                </a:lnTo>
                <a:lnTo>
                  <a:pt x="888" y="463"/>
                </a:lnTo>
                <a:lnTo>
                  <a:pt x="895" y="475"/>
                </a:lnTo>
                <a:lnTo>
                  <a:pt x="902" y="476"/>
                </a:lnTo>
                <a:lnTo>
                  <a:pt x="905" y="491"/>
                </a:lnTo>
                <a:lnTo>
                  <a:pt x="938" y="520"/>
                </a:lnTo>
                <a:lnTo>
                  <a:pt x="954" y="568"/>
                </a:lnTo>
                <a:lnTo>
                  <a:pt x="1119" y="599"/>
                </a:lnTo>
                <a:lnTo>
                  <a:pt x="1130" y="587"/>
                </a:lnTo>
                <a:lnTo>
                  <a:pt x="1157" y="627"/>
                </a:lnTo>
                <a:lnTo>
                  <a:pt x="1119" y="744"/>
                </a:lnTo>
                <a:lnTo>
                  <a:pt x="954" y="802"/>
                </a:lnTo>
                <a:lnTo>
                  <a:pt x="780" y="842"/>
                </a:lnTo>
                <a:lnTo>
                  <a:pt x="642" y="996"/>
                </a:lnTo>
                <a:lnTo>
                  <a:pt x="642" y="934"/>
                </a:lnTo>
                <a:lnTo>
                  <a:pt x="542" y="900"/>
                </a:lnTo>
                <a:lnTo>
                  <a:pt x="507" y="912"/>
                </a:lnTo>
                <a:lnTo>
                  <a:pt x="485" y="914"/>
                </a:lnTo>
                <a:lnTo>
                  <a:pt x="480" y="918"/>
                </a:lnTo>
                <a:lnTo>
                  <a:pt x="477" y="925"/>
                </a:lnTo>
                <a:lnTo>
                  <a:pt x="468" y="928"/>
                </a:lnTo>
                <a:lnTo>
                  <a:pt x="462" y="933"/>
                </a:lnTo>
                <a:lnTo>
                  <a:pt x="461" y="941"/>
                </a:lnTo>
                <a:lnTo>
                  <a:pt x="456" y="945"/>
                </a:lnTo>
                <a:lnTo>
                  <a:pt x="445" y="950"/>
                </a:lnTo>
                <a:lnTo>
                  <a:pt x="442" y="944"/>
                </a:lnTo>
                <a:lnTo>
                  <a:pt x="442" y="934"/>
                </a:lnTo>
                <a:lnTo>
                  <a:pt x="430" y="912"/>
                </a:lnTo>
                <a:lnTo>
                  <a:pt x="426" y="911"/>
                </a:lnTo>
                <a:lnTo>
                  <a:pt x="422" y="905"/>
                </a:lnTo>
                <a:lnTo>
                  <a:pt x="418" y="887"/>
                </a:lnTo>
                <a:lnTo>
                  <a:pt x="399" y="869"/>
                </a:lnTo>
                <a:lnTo>
                  <a:pt x="392" y="866"/>
                </a:lnTo>
                <a:lnTo>
                  <a:pt x="387" y="860"/>
                </a:lnTo>
                <a:lnTo>
                  <a:pt x="376" y="844"/>
                </a:lnTo>
                <a:lnTo>
                  <a:pt x="365" y="821"/>
                </a:lnTo>
                <a:lnTo>
                  <a:pt x="360" y="819"/>
                </a:lnTo>
                <a:lnTo>
                  <a:pt x="359" y="815"/>
                </a:lnTo>
                <a:lnTo>
                  <a:pt x="355" y="804"/>
                </a:lnTo>
                <a:lnTo>
                  <a:pt x="355" y="793"/>
                </a:lnTo>
                <a:lnTo>
                  <a:pt x="351" y="783"/>
                </a:lnTo>
                <a:lnTo>
                  <a:pt x="345" y="774"/>
                </a:lnTo>
                <a:lnTo>
                  <a:pt x="338" y="766"/>
                </a:lnTo>
                <a:lnTo>
                  <a:pt x="335" y="760"/>
                </a:lnTo>
                <a:lnTo>
                  <a:pt x="330" y="756"/>
                </a:lnTo>
                <a:lnTo>
                  <a:pt x="322" y="744"/>
                </a:lnTo>
                <a:lnTo>
                  <a:pt x="317" y="739"/>
                </a:lnTo>
                <a:lnTo>
                  <a:pt x="302" y="729"/>
                </a:lnTo>
                <a:lnTo>
                  <a:pt x="293" y="724"/>
                </a:lnTo>
                <a:lnTo>
                  <a:pt x="291" y="726"/>
                </a:lnTo>
                <a:lnTo>
                  <a:pt x="285" y="723"/>
                </a:lnTo>
                <a:lnTo>
                  <a:pt x="271" y="715"/>
                </a:lnTo>
                <a:lnTo>
                  <a:pt x="264" y="708"/>
                </a:lnTo>
                <a:lnTo>
                  <a:pt x="260" y="704"/>
                </a:lnTo>
                <a:lnTo>
                  <a:pt x="253" y="690"/>
                </a:lnTo>
                <a:lnTo>
                  <a:pt x="251" y="680"/>
                </a:lnTo>
                <a:lnTo>
                  <a:pt x="243" y="638"/>
                </a:lnTo>
                <a:lnTo>
                  <a:pt x="239" y="632"/>
                </a:lnTo>
                <a:lnTo>
                  <a:pt x="239" y="627"/>
                </a:lnTo>
                <a:lnTo>
                  <a:pt x="242" y="625"/>
                </a:lnTo>
                <a:lnTo>
                  <a:pt x="244" y="618"/>
                </a:lnTo>
                <a:lnTo>
                  <a:pt x="246" y="604"/>
                </a:lnTo>
                <a:lnTo>
                  <a:pt x="241" y="589"/>
                </a:lnTo>
                <a:lnTo>
                  <a:pt x="238" y="583"/>
                </a:lnTo>
                <a:lnTo>
                  <a:pt x="233" y="578"/>
                </a:lnTo>
                <a:lnTo>
                  <a:pt x="231" y="570"/>
                </a:lnTo>
                <a:lnTo>
                  <a:pt x="228" y="560"/>
                </a:lnTo>
                <a:lnTo>
                  <a:pt x="225" y="554"/>
                </a:lnTo>
                <a:lnTo>
                  <a:pt x="220" y="543"/>
                </a:lnTo>
                <a:lnTo>
                  <a:pt x="208" y="520"/>
                </a:lnTo>
                <a:lnTo>
                  <a:pt x="193" y="506"/>
                </a:lnTo>
                <a:lnTo>
                  <a:pt x="183" y="498"/>
                </a:lnTo>
                <a:lnTo>
                  <a:pt x="180" y="496"/>
                </a:lnTo>
                <a:lnTo>
                  <a:pt x="178" y="496"/>
                </a:lnTo>
                <a:lnTo>
                  <a:pt x="177" y="492"/>
                </a:lnTo>
                <a:lnTo>
                  <a:pt x="168" y="489"/>
                </a:lnTo>
                <a:lnTo>
                  <a:pt x="162" y="489"/>
                </a:lnTo>
                <a:lnTo>
                  <a:pt x="160" y="490"/>
                </a:lnTo>
                <a:lnTo>
                  <a:pt x="155" y="487"/>
                </a:lnTo>
                <a:lnTo>
                  <a:pt x="153" y="481"/>
                </a:lnTo>
                <a:lnTo>
                  <a:pt x="149" y="473"/>
                </a:lnTo>
                <a:lnTo>
                  <a:pt x="141" y="465"/>
                </a:lnTo>
                <a:lnTo>
                  <a:pt x="141" y="455"/>
                </a:lnTo>
                <a:lnTo>
                  <a:pt x="142" y="453"/>
                </a:lnTo>
                <a:lnTo>
                  <a:pt x="133" y="423"/>
                </a:lnTo>
                <a:lnTo>
                  <a:pt x="128" y="416"/>
                </a:lnTo>
                <a:lnTo>
                  <a:pt x="120" y="404"/>
                </a:lnTo>
                <a:lnTo>
                  <a:pt x="112" y="400"/>
                </a:lnTo>
                <a:lnTo>
                  <a:pt x="109" y="395"/>
                </a:lnTo>
                <a:lnTo>
                  <a:pt x="108" y="388"/>
                </a:lnTo>
                <a:lnTo>
                  <a:pt x="96" y="373"/>
                </a:lnTo>
                <a:lnTo>
                  <a:pt x="87" y="350"/>
                </a:lnTo>
                <a:lnTo>
                  <a:pt x="81" y="341"/>
                </a:lnTo>
                <a:lnTo>
                  <a:pt x="74" y="336"/>
                </a:lnTo>
                <a:lnTo>
                  <a:pt x="61" y="319"/>
                </a:lnTo>
                <a:lnTo>
                  <a:pt x="60" y="314"/>
                </a:lnTo>
                <a:lnTo>
                  <a:pt x="53" y="304"/>
                </a:lnTo>
                <a:lnTo>
                  <a:pt x="45" y="288"/>
                </a:lnTo>
                <a:lnTo>
                  <a:pt x="32" y="263"/>
                </a:lnTo>
                <a:lnTo>
                  <a:pt x="26" y="259"/>
                </a:lnTo>
                <a:lnTo>
                  <a:pt x="17" y="259"/>
                </a:lnTo>
                <a:lnTo>
                  <a:pt x="9" y="258"/>
                </a:lnTo>
                <a:lnTo>
                  <a:pt x="7" y="256"/>
                </a:lnTo>
                <a:lnTo>
                  <a:pt x="2" y="258"/>
                </a:lnTo>
                <a:lnTo>
                  <a:pt x="0" y="263"/>
                </a:lnTo>
                <a:lnTo>
                  <a:pt x="11" y="233"/>
                </a:lnTo>
                <a:lnTo>
                  <a:pt x="12" y="211"/>
                </a:lnTo>
                <a:lnTo>
                  <a:pt x="13" y="202"/>
                </a:lnTo>
                <a:lnTo>
                  <a:pt x="18" y="193"/>
                </a:lnTo>
                <a:lnTo>
                  <a:pt x="17" y="178"/>
                </a:lnTo>
                <a:lnTo>
                  <a:pt x="20" y="186"/>
                </a:lnTo>
                <a:lnTo>
                  <a:pt x="81" y="194"/>
                </a:lnTo>
                <a:lnTo>
                  <a:pt x="98" y="177"/>
                </a:lnTo>
                <a:lnTo>
                  <a:pt x="99" y="174"/>
                </a:lnTo>
                <a:lnTo>
                  <a:pt x="114" y="148"/>
                </a:lnTo>
                <a:lnTo>
                  <a:pt x="156" y="142"/>
                </a:lnTo>
                <a:lnTo>
                  <a:pt x="157" y="132"/>
                </a:lnTo>
                <a:lnTo>
                  <a:pt x="163" y="116"/>
                </a:lnTo>
                <a:lnTo>
                  <a:pt x="185" y="104"/>
                </a:lnTo>
                <a:lnTo>
                  <a:pt x="187" y="103"/>
                </a:lnTo>
                <a:lnTo>
                  <a:pt x="134" y="49"/>
                </a:lnTo>
                <a:lnTo>
                  <a:pt x="125" y="43"/>
                </a:lnTo>
                <a:lnTo>
                  <a:pt x="166" y="33"/>
                </a:lnTo>
                <a:lnTo>
                  <a:pt x="232" y="21"/>
                </a:lnTo>
                <a:lnTo>
                  <a:pt x="248" y="0"/>
                </a:lnTo>
                <a:lnTo>
                  <a:pt x="332" y="23"/>
                </a:lnTo>
                <a:lnTo>
                  <a:pt x="394" y="70"/>
                </a:lnTo>
                <a:lnTo>
                  <a:pt x="450" y="91"/>
                </a:lnTo>
                <a:lnTo>
                  <a:pt x="456" y="96"/>
                </a:lnTo>
                <a:lnTo>
                  <a:pt x="464" y="114"/>
                </a:lnTo>
                <a:lnTo>
                  <a:pt x="493" y="116"/>
                </a:lnTo>
                <a:lnTo>
                  <a:pt x="495" y="119"/>
                </a:lnTo>
                <a:lnTo>
                  <a:pt x="495" y="158"/>
                </a:lnTo>
                <a:lnTo>
                  <a:pt x="497" y="162"/>
                </a:lnTo>
                <a:lnTo>
                  <a:pt x="560" y="190"/>
                </a:lnTo>
                <a:lnTo>
                  <a:pt x="658"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0" name="Freeform 1492"/>
          <p:cNvSpPr>
            <a:spLocks/>
          </p:cNvSpPr>
          <p:nvPr userDrawn="1"/>
        </p:nvSpPr>
        <p:spPr bwMode="auto">
          <a:xfrm>
            <a:off x="4984530" y="3785154"/>
            <a:ext cx="45853" cy="29977"/>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1" name="Freeform 1493"/>
          <p:cNvSpPr>
            <a:spLocks/>
          </p:cNvSpPr>
          <p:nvPr userDrawn="1"/>
        </p:nvSpPr>
        <p:spPr bwMode="auto">
          <a:xfrm>
            <a:off x="5549436" y="3709211"/>
            <a:ext cx="289790" cy="239819"/>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2" name="Freeform 1494"/>
          <p:cNvSpPr>
            <a:spLocks/>
          </p:cNvSpPr>
          <p:nvPr userDrawn="1"/>
        </p:nvSpPr>
        <p:spPr bwMode="auto">
          <a:xfrm>
            <a:off x="6250066" y="4496613"/>
            <a:ext cx="218259" cy="251809"/>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3" name="Freeform 1495"/>
          <p:cNvSpPr>
            <a:spLocks/>
          </p:cNvSpPr>
          <p:nvPr userDrawn="1"/>
        </p:nvSpPr>
        <p:spPr bwMode="auto">
          <a:xfrm>
            <a:off x="6451818" y="4748421"/>
            <a:ext cx="185246" cy="63952"/>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4" name="Freeform 1496"/>
          <p:cNvSpPr>
            <a:spLocks/>
          </p:cNvSpPr>
          <p:nvPr userDrawn="1"/>
        </p:nvSpPr>
        <p:spPr bwMode="auto">
          <a:xfrm>
            <a:off x="6525181" y="4524591"/>
            <a:ext cx="199917" cy="185859"/>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5" name="Freeform 1497"/>
          <p:cNvSpPr>
            <a:spLocks/>
          </p:cNvSpPr>
          <p:nvPr userDrawn="1"/>
        </p:nvSpPr>
        <p:spPr bwMode="auto">
          <a:xfrm>
            <a:off x="7319350" y="4710449"/>
            <a:ext cx="80701" cy="47964"/>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6" name="Freeform 1498"/>
          <p:cNvSpPr>
            <a:spLocks/>
          </p:cNvSpPr>
          <p:nvPr userDrawn="1"/>
        </p:nvSpPr>
        <p:spPr bwMode="auto">
          <a:xfrm>
            <a:off x="7170788" y="4676476"/>
            <a:ext cx="199917" cy="177864"/>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7" name="Freeform 1499"/>
          <p:cNvSpPr>
            <a:spLocks/>
          </p:cNvSpPr>
          <p:nvPr userDrawn="1"/>
        </p:nvSpPr>
        <p:spPr bwMode="auto">
          <a:xfrm>
            <a:off x="6692085" y="4370708"/>
            <a:ext cx="45853" cy="65950"/>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8" name="Freeform 1500"/>
          <p:cNvSpPr>
            <a:spLocks/>
          </p:cNvSpPr>
          <p:nvPr userDrawn="1"/>
        </p:nvSpPr>
        <p:spPr bwMode="auto">
          <a:xfrm>
            <a:off x="6752611" y="4324744"/>
            <a:ext cx="25677" cy="27979"/>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9" name="Freeform 1501"/>
          <p:cNvSpPr>
            <a:spLocks/>
          </p:cNvSpPr>
          <p:nvPr userDrawn="1"/>
        </p:nvSpPr>
        <p:spPr bwMode="auto">
          <a:xfrm>
            <a:off x="6743441" y="4206833"/>
            <a:ext cx="86203" cy="137895"/>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0" name="Freeform 1502"/>
          <p:cNvSpPr>
            <a:spLocks/>
          </p:cNvSpPr>
          <p:nvPr userDrawn="1"/>
        </p:nvSpPr>
        <p:spPr bwMode="auto">
          <a:xfrm>
            <a:off x="6811303" y="4344728"/>
            <a:ext cx="16507" cy="17987"/>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1" name="Freeform 1503"/>
          <p:cNvSpPr>
            <a:spLocks/>
          </p:cNvSpPr>
          <p:nvPr userDrawn="1"/>
        </p:nvSpPr>
        <p:spPr bwMode="auto">
          <a:xfrm>
            <a:off x="6833311" y="4342729"/>
            <a:ext cx="27512" cy="33974"/>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2" name="Freeform 1504"/>
          <p:cNvSpPr>
            <a:spLocks/>
          </p:cNvSpPr>
          <p:nvPr userDrawn="1"/>
        </p:nvSpPr>
        <p:spPr bwMode="auto">
          <a:xfrm>
            <a:off x="6785625" y="4358716"/>
            <a:ext cx="23844" cy="33974"/>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3" name="Freeform 1505"/>
          <p:cNvSpPr>
            <a:spLocks/>
          </p:cNvSpPr>
          <p:nvPr userDrawn="1"/>
        </p:nvSpPr>
        <p:spPr bwMode="auto">
          <a:xfrm>
            <a:off x="6794795" y="4380700"/>
            <a:ext cx="22010" cy="41968"/>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4" name="Freeform 1506"/>
          <p:cNvSpPr>
            <a:spLocks/>
          </p:cNvSpPr>
          <p:nvPr userDrawn="1"/>
        </p:nvSpPr>
        <p:spPr bwMode="auto">
          <a:xfrm>
            <a:off x="6833310" y="4368709"/>
            <a:ext cx="18342" cy="31975"/>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5" name="Freeform 1507"/>
          <p:cNvSpPr>
            <a:spLocks/>
          </p:cNvSpPr>
          <p:nvPr userDrawn="1"/>
        </p:nvSpPr>
        <p:spPr bwMode="auto">
          <a:xfrm>
            <a:off x="6814971" y="4372706"/>
            <a:ext cx="12838" cy="3997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6" name="Freeform 1508"/>
          <p:cNvSpPr>
            <a:spLocks/>
          </p:cNvSpPr>
          <p:nvPr userDrawn="1"/>
        </p:nvSpPr>
        <p:spPr bwMode="auto">
          <a:xfrm>
            <a:off x="6824141" y="4396687"/>
            <a:ext cx="14673" cy="13990"/>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7" name="Freeform 1509"/>
          <p:cNvSpPr>
            <a:spLocks/>
          </p:cNvSpPr>
          <p:nvPr userDrawn="1"/>
        </p:nvSpPr>
        <p:spPr bwMode="auto">
          <a:xfrm>
            <a:off x="6785625" y="4406681"/>
            <a:ext cx="93540" cy="91930"/>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8" name="Freeform 1510"/>
          <p:cNvSpPr>
            <a:spLocks/>
          </p:cNvSpPr>
          <p:nvPr userDrawn="1"/>
        </p:nvSpPr>
        <p:spPr bwMode="auto">
          <a:xfrm>
            <a:off x="6626058" y="4508603"/>
            <a:ext cx="27512" cy="23982"/>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9" name="Freeform 1511"/>
          <p:cNvSpPr>
            <a:spLocks/>
          </p:cNvSpPr>
          <p:nvPr userDrawn="1"/>
        </p:nvSpPr>
        <p:spPr bwMode="auto">
          <a:xfrm>
            <a:off x="6668242" y="4690466"/>
            <a:ext cx="5502" cy="17987"/>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0" name="Freeform 1512"/>
          <p:cNvSpPr>
            <a:spLocks/>
          </p:cNvSpPr>
          <p:nvPr userDrawn="1"/>
        </p:nvSpPr>
        <p:spPr bwMode="auto">
          <a:xfrm>
            <a:off x="6842482" y="4802380"/>
            <a:ext cx="49521" cy="23982"/>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1" name="Freeform 1513"/>
          <p:cNvSpPr>
            <a:spLocks/>
          </p:cNvSpPr>
          <p:nvPr userDrawn="1"/>
        </p:nvSpPr>
        <p:spPr bwMode="auto">
          <a:xfrm>
            <a:off x="6818639" y="4818369"/>
            <a:ext cx="31180" cy="27979"/>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2" name="Freeform 1514"/>
          <p:cNvSpPr>
            <a:spLocks/>
          </p:cNvSpPr>
          <p:nvPr userDrawn="1"/>
        </p:nvSpPr>
        <p:spPr bwMode="auto">
          <a:xfrm>
            <a:off x="6906677" y="4680472"/>
            <a:ext cx="58692" cy="23982"/>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3" name="Freeform 1515"/>
          <p:cNvSpPr>
            <a:spLocks/>
          </p:cNvSpPr>
          <p:nvPr userDrawn="1"/>
        </p:nvSpPr>
        <p:spPr bwMode="auto">
          <a:xfrm>
            <a:off x="6725099" y="4582548"/>
            <a:ext cx="126554" cy="161877"/>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4" name="Freeform 1516"/>
          <p:cNvSpPr>
            <a:spLocks/>
          </p:cNvSpPr>
          <p:nvPr userDrawn="1"/>
        </p:nvSpPr>
        <p:spPr bwMode="auto">
          <a:xfrm>
            <a:off x="6895671" y="4570557"/>
            <a:ext cx="29346" cy="67949"/>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5" name="Freeform 1517"/>
          <p:cNvSpPr>
            <a:spLocks/>
          </p:cNvSpPr>
          <p:nvPr userDrawn="1"/>
        </p:nvSpPr>
        <p:spPr bwMode="auto">
          <a:xfrm>
            <a:off x="6967201" y="4628511"/>
            <a:ext cx="209088" cy="191854"/>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6" name="Freeform 1518"/>
          <p:cNvSpPr>
            <a:spLocks/>
          </p:cNvSpPr>
          <p:nvPr userDrawn="1"/>
        </p:nvSpPr>
        <p:spPr bwMode="auto">
          <a:xfrm>
            <a:off x="7368871" y="4676476"/>
            <a:ext cx="47686" cy="47964"/>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7" name="Freeform 1519"/>
          <p:cNvSpPr>
            <a:spLocks/>
          </p:cNvSpPr>
          <p:nvPr userDrawn="1"/>
        </p:nvSpPr>
        <p:spPr bwMode="auto">
          <a:xfrm>
            <a:off x="6387624" y="4100913"/>
            <a:ext cx="144894" cy="331748"/>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8" name="Freeform 1520"/>
          <p:cNvSpPr>
            <a:spLocks/>
          </p:cNvSpPr>
          <p:nvPr userDrawn="1"/>
        </p:nvSpPr>
        <p:spPr bwMode="auto">
          <a:xfrm>
            <a:off x="6538020" y="4468634"/>
            <a:ext cx="194416" cy="131899"/>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9" name="Freeform 1521"/>
          <p:cNvSpPr>
            <a:spLocks/>
          </p:cNvSpPr>
          <p:nvPr userDrawn="1"/>
        </p:nvSpPr>
        <p:spPr bwMode="auto">
          <a:xfrm>
            <a:off x="6349107" y="4472630"/>
            <a:ext cx="82534" cy="117910"/>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0" name="Freeform 1522"/>
          <p:cNvSpPr>
            <a:spLocks/>
          </p:cNvSpPr>
          <p:nvPr userDrawn="1"/>
        </p:nvSpPr>
        <p:spPr bwMode="auto">
          <a:xfrm>
            <a:off x="6297751" y="4158868"/>
            <a:ext cx="157734" cy="337744"/>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1" name="Freeform 1523"/>
          <p:cNvSpPr>
            <a:spLocks/>
          </p:cNvSpPr>
          <p:nvPr userDrawn="1"/>
        </p:nvSpPr>
        <p:spPr bwMode="auto">
          <a:xfrm>
            <a:off x="6189540" y="3977008"/>
            <a:ext cx="177908" cy="419681"/>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2" name="Freeform 1524"/>
          <p:cNvSpPr>
            <a:spLocks/>
          </p:cNvSpPr>
          <p:nvPr userDrawn="1"/>
        </p:nvSpPr>
        <p:spPr bwMode="auto">
          <a:xfrm>
            <a:off x="6391291" y="4296765"/>
            <a:ext cx="106378" cy="93929"/>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3" name="Freeform 1525"/>
          <p:cNvSpPr>
            <a:spLocks/>
          </p:cNvSpPr>
          <p:nvPr userDrawn="1"/>
        </p:nvSpPr>
        <p:spPr bwMode="auto">
          <a:xfrm>
            <a:off x="6349107" y="4116901"/>
            <a:ext cx="144894" cy="195851"/>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4" name="Freeform 1527"/>
          <p:cNvSpPr>
            <a:spLocks/>
          </p:cNvSpPr>
          <p:nvPr userDrawn="1"/>
        </p:nvSpPr>
        <p:spPr bwMode="auto">
          <a:xfrm>
            <a:off x="6154692" y="4110906"/>
            <a:ext cx="5502" cy="9992"/>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5" name="Freeform 1528"/>
          <p:cNvSpPr>
            <a:spLocks/>
          </p:cNvSpPr>
          <p:nvPr userDrawn="1"/>
        </p:nvSpPr>
        <p:spPr bwMode="auto">
          <a:xfrm>
            <a:off x="5701666" y="3779157"/>
            <a:ext cx="590583" cy="663496"/>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6" name="Freeform 1529"/>
          <p:cNvSpPr>
            <a:spLocks/>
          </p:cNvSpPr>
          <p:nvPr userDrawn="1"/>
        </p:nvSpPr>
        <p:spPr bwMode="auto">
          <a:xfrm>
            <a:off x="5556772" y="3751179"/>
            <a:ext cx="337476" cy="335745"/>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7" name="Freeform 1530"/>
          <p:cNvSpPr>
            <a:spLocks/>
          </p:cNvSpPr>
          <p:nvPr userDrawn="1"/>
        </p:nvSpPr>
        <p:spPr bwMode="auto">
          <a:xfrm>
            <a:off x="6118009" y="3977007"/>
            <a:ext cx="67862" cy="39970"/>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8" name="Freeform 1531"/>
          <p:cNvSpPr>
            <a:spLocks/>
          </p:cNvSpPr>
          <p:nvPr userDrawn="1"/>
        </p:nvSpPr>
        <p:spPr bwMode="auto">
          <a:xfrm>
            <a:off x="5943769" y="3927045"/>
            <a:ext cx="161402" cy="97925"/>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9" name="Freeform 1532"/>
          <p:cNvSpPr>
            <a:spLocks/>
          </p:cNvSpPr>
          <p:nvPr userDrawn="1"/>
        </p:nvSpPr>
        <p:spPr bwMode="auto">
          <a:xfrm>
            <a:off x="6099668" y="4020974"/>
            <a:ext cx="95373" cy="133899"/>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0" name="Freeform 1533"/>
          <p:cNvSpPr>
            <a:spLocks/>
          </p:cNvSpPr>
          <p:nvPr userDrawn="1"/>
        </p:nvSpPr>
        <p:spPr bwMode="auto">
          <a:xfrm>
            <a:off x="5936432" y="4404683"/>
            <a:ext cx="42184" cy="85935"/>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1" name="Freeform 1534"/>
          <p:cNvSpPr>
            <a:spLocks/>
          </p:cNvSpPr>
          <p:nvPr userDrawn="1"/>
        </p:nvSpPr>
        <p:spPr bwMode="auto">
          <a:xfrm>
            <a:off x="6748943" y="4050951"/>
            <a:ext cx="34848" cy="79939"/>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2" name="Freeform 1536"/>
          <p:cNvSpPr>
            <a:spLocks/>
          </p:cNvSpPr>
          <p:nvPr userDrawn="1"/>
        </p:nvSpPr>
        <p:spPr bwMode="auto">
          <a:xfrm>
            <a:off x="7146945" y="3505365"/>
            <a:ext cx="121051" cy="121907"/>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3" name="Freeform 1537"/>
          <p:cNvSpPr>
            <a:spLocks/>
          </p:cNvSpPr>
          <p:nvPr userDrawn="1"/>
        </p:nvSpPr>
        <p:spPr bwMode="auto">
          <a:xfrm>
            <a:off x="6967202" y="3625275"/>
            <a:ext cx="225595" cy="219833"/>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4" name="Freeform 1538"/>
          <p:cNvSpPr>
            <a:spLocks/>
          </p:cNvSpPr>
          <p:nvPr userDrawn="1"/>
        </p:nvSpPr>
        <p:spPr bwMode="auto">
          <a:xfrm>
            <a:off x="6992880" y="3823123"/>
            <a:ext cx="51355" cy="41968"/>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5" name="Freeform 1539"/>
          <p:cNvSpPr>
            <a:spLocks/>
          </p:cNvSpPr>
          <p:nvPr userDrawn="1"/>
        </p:nvSpPr>
        <p:spPr bwMode="auto">
          <a:xfrm>
            <a:off x="6941525" y="3833116"/>
            <a:ext cx="47686" cy="75942"/>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6" name="Freeform 1540"/>
          <p:cNvSpPr>
            <a:spLocks/>
          </p:cNvSpPr>
          <p:nvPr userDrawn="1"/>
        </p:nvSpPr>
        <p:spPr bwMode="auto">
          <a:xfrm>
            <a:off x="6869994" y="3709209"/>
            <a:ext cx="69696" cy="113914"/>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7" name="Freeform 1541"/>
          <p:cNvSpPr>
            <a:spLocks/>
          </p:cNvSpPr>
          <p:nvPr userDrawn="1"/>
        </p:nvSpPr>
        <p:spPr bwMode="auto">
          <a:xfrm>
            <a:off x="6099668" y="3281534"/>
            <a:ext cx="636435" cy="339742"/>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8" name="Freeform 1543"/>
          <p:cNvSpPr>
            <a:spLocks/>
          </p:cNvSpPr>
          <p:nvPr userDrawn="1"/>
        </p:nvSpPr>
        <p:spPr bwMode="auto">
          <a:xfrm>
            <a:off x="6517845" y="4170859"/>
            <a:ext cx="47686" cy="45965"/>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9" name="Freeform 1544"/>
          <p:cNvSpPr>
            <a:spLocks/>
          </p:cNvSpPr>
          <p:nvPr userDrawn="1"/>
        </p:nvSpPr>
        <p:spPr bwMode="auto">
          <a:xfrm>
            <a:off x="5813548" y="3235569"/>
            <a:ext cx="1232521" cy="933291"/>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0" name="Freeform 1545"/>
          <p:cNvSpPr>
            <a:spLocks/>
          </p:cNvSpPr>
          <p:nvPr userDrawn="1"/>
        </p:nvSpPr>
        <p:spPr bwMode="auto">
          <a:xfrm>
            <a:off x="6835145" y="3581307"/>
            <a:ext cx="126554" cy="151885"/>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1" name="Freeform 1547"/>
          <p:cNvSpPr>
            <a:spLocks/>
          </p:cNvSpPr>
          <p:nvPr userDrawn="1"/>
        </p:nvSpPr>
        <p:spPr bwMode="auto">
          <a:xfrm>
            <a:off x="4522282" y="3392029"/>
            <a:ext cx="154116" cy="81969"/>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2" name="Freeform 1548"/>
          <p:cNvSpPr>
            <a:spLocks/>
          </p:cNvSpPr>
          <p:nvPr userDrawn="1"/>
        </p:nvSpPr>
        <p:spPr bwMode="auto">
          <a:xfrm>
            <a:off x="4360826" y="3591955"/>
            <a:ext cx="9174" cy="5998"/>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3" name="Freeform 1549"/>
          <p:cNvSpPr>
            <a:spLocks/>
          </p:cNvSpPr>
          <p:nvPr userDrawn="1"/>
        </p:nvSpPr>
        <p:spPr bwMode="auto">
          <a:xfrm>
            <a:off x="4524116" y="3444009"/>
            <a:ext cx="5504" cy="11996"/>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4" name="Freeform 1551"/>
          <p:cNvSpPr>
            <a:spLocks/>
          </p:cNvSpPr>
          <p:nvPr userDrawn="1"/>
        </p:nvSpPr>
        <p:spPr bwMode="auto">
          <a:xfrm>
            <a:off x="4584662" y="3715909"/>
            <a:ext cx="62381" cy="43984"/>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5" name="Freeform 1552"/>
          <p:cNvSpPr>
            <a:spLocks/>
          </p:cNvSpPr>
          <p:nvPr userDrawn="1"/>
        </p:nvSpPr>
        <p:spPr bwMode="auto">
          <a:xfrm>
            <a:off x="4498429" y="3629941"/>
            <a:ext cx="29356" cy="69974"/>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6" name="Freeform 1553"/>
          <p:cNvSpPr>
            <a:spLocks/>
          </p:cNvSpPr>
          <p:nvPr userDrawn="1"/>
        </p:nvSpPr>
        <p:spPr bwMode="auto">
          <a:xfrm>
            <a:off x="4467240" y="3454005"/>
            <a:ext cx="236679" cy="271898"/>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7" name="Freeform 1554"/>
          <p:cNvSpPr>
            <a:spLocks/>
          </p:cNvSpPr>
          <p:nvPr userDrawn="1"/>
        </p:nvSpPr>
        <p:spPr bwMode="auto">
          <a:xfrm>
            <a:off x="4447057" y="3352043"/>
            <a:ext cx="12843" cy="21992"/>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8" name="Freeform 1555"/>
          <p:cNvSpPr>
            <a:spLocks/>
          </p:cNvSpPr>
          <p:nvPr userDrawn="1"/>
        </p:nvSpPr>
        <p:spPr bwMode="auto">
          <a:xfrm>
            <a:off x="4452563" y="3436012"/>
            <a:ext cx="89901" cy="55979"/>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9" name="Freeform 1556"/>
          <p:cNvSpPr>
            <a:spLocks/>
          </p:cNvSpPr>
          <p:nvPr userDrawn="1"/>
        </p:nvSpPr>
        <p:spPr bwMode="auto">
          <a:xfrm>
            <a:off x="4390181" y="3308060"/>
            <a:ext cx="67885" cy="63976"/>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0" name="Freeform 1557"/>
          <p:cNvSpPr>
            <a:spLocks/>
          </p:cNvSpPr>
          <p:nvPr userDrawn="1"/>
        </p:nvSpPr>
        <p:spPr bwMode="auto">
          <a:xfrm>
            <a:off x="4149832" y="3557968"/>
            <a:ext cx="251356" cy="217919"/>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1" name="Freeform 1558"/>
          <p:cNvSpPr>
            <a:spLocks/>
          </p:cNvSpPr>
          <p:nvPr userDrawn="1"/>
        </p:nvSpPr>
        <p:spPr bwMode="auto">
          <a:xfrm>
            <a:off x="4403024" y="3236088"/>
            <a:ext cx="73388" cy="95965"/>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2" name="Freeform 1559"/>
          <p:cNvSpPr>
            <a:spLocks/>
          </p:cNvSpPr>
          <p:nvPr userDrawn="1"/>
        </p:nvSpPr>
        <p:spPr bwMode="auto">
          <a:xfrm>
            <a:off x="4146163" y="3607949"/>
            <a:ext cx="64215" cy="141948"/>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3" name="Freeform 1560"/>
          <p:cNvSpPr>
            <a:spLocks/>
          </p:cNvSpPr>
          <p:nvPr userDrawn="1"/>
        </p:nvSpPr>
        <p:spPr bwMode="auto">
          <a:xfrm>
            <a:off x="4452562" y="3182108"/>
            <a:ext cx="179802" cy="26190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4" name="Freeform 1562"/>
          <p:cNvSpPr>
            <a:spLocks/>
          </p:cNvSpPr>
          <p:nvPr userDrawn="1"/>
        </p:nvSpPr>
        <p:spPr bwMode="auto">
          <a:xfrm>
            <a:off x="4505768" y="3579958"/>
            <a:ext cx="20181" cy="47982"/>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5" name="Freeform 1563"/>
          <p:cNvSpPr>
            <a:spLocks/>
          </p:cNvSpPr>
          <p:nvPr userDrawn="1"/>
        </p:nvSpPr>
        <p:spPr bwMode="auto">
          <a:xfrm>
            <a:off x="4239734" y="3320055"/>
            <a:ext cx="255026" cy="279896"/>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6" name="Freeform 1565"/>
          <p:cNvSpPr>
            <a:spLocks/>
          </p:cNvSpPr>
          <p:nvPr userDrawn="1"/>
        </p:nvSpPr>
        <p:spPr bwMode="auto">
          <a:xfrm>
            <a:off x="4212214" y="3032163"/>
            <a:ext cx="157786" cy="325879"/>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7" name="Freeform 1566"/>
          <p:cNvSpPr>
            <a:spLocks/>
          </p:cNvSpPr>
          <p:nvPr userDrawn="1"/>
        </p:nvSpPr>
        <p:spPr bwMode="auto">
          <a:xfrm>
            <a:off x="4171850" y="3166112"/>
            <a:ext cx="51372" cy="49982"/>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8" name="Freeform 1567"/>
          <p:cNvSpPr>
            <a:spLocks/>
          </p:cNvSpPr>
          <p:nvPr userDrawn="1"/>
        </p:nvSpPr>
        <p:spPr bwMode="auto">
          <a:xfrm>
            <a:off x="4125982" y="3170112"/>
            <a:ext cx="86233" cy="137949"/>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9" name="Freeform 1568"/>
          <p:cNvSpPr>
            <a:spLocks/>
          </p:cNvSpPr>
          <p:nvPr userDrawn="1"/>
        </p:nvSpPr>
        <p:spPr bwMode="auto">
          <a:xfrm>
            <a:off x="3839765" y="2654303"/>
            <a:ext cx="220167" cy="163939"/>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0" name="Freeform 1569"/>
          <p:cNvSpPr>
            <a:spLocks/>
          </p:cNvSpPr>
          <p:nvPr userDrawn="1"/>
        </p:nvSpPr>
        <p:spPr bwMode="auto">
          <a:xfrm>
            <a:off x="4777307" y="3274072"/>
            <a:ext cx="365108" cy="263902"/>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1" name="Freeform 1570"/>
          <p:cNvSpPr>
            <a:spLocks/>
          </p:cNvSpPr>
          <p:nvPr userDrawn="1"/>
        </p:nvSpPr>
        <p:spPr bwMode="auto">
          <a:xfrm>
            <a:off x="4867209" y="3408024"/>
            <a:ext cx="69719" cy="95965"/>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2" name="Freeform 1571"/>
          <p:cNvSpPr>
            <a:spLocks/>
          </p:cNvSpPr>
          <p:nvPr userDrawn="1"/>
        </p:nvSpPr>
        <p:spPr bwMode="auto">
          <a:xfrm>
            <a:off x="4797489" y="3132126"/>
            <a:ext cx="196314" cy="179933"/>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3" name="Freeform 1573"/>
          <p:cNvSpPr>
            <a:spLocks/>
          </p:cNvSpPr>
          <p:nvPr userDrawn="1"/>
        </p:nvSpPr>
        <p:spPr bwMode="auto">
          <a:xfrm>
            <a:off x="4648877" y="3507985"/>
            <a:ext cx="78893" cy="85968"/>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4" name="Freeform 1574"/>
          <p:cNvSpPr>
            <a:spLocks/>
          </p:cNvSpPr>
          <p:nvPr userDrawn="1"/>
        </p:nvSpPr>
        <p:spPr bwMode="auto">
          <a:xfrm>
            <a:off x="4676397" y="3577959"/>
            <a:ext cx="27521" cy="15994"/>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5" name="Freeform 1575"/>
          <p:cNvSpPr>
            <a:spLocks/>
          </p:cNvSpPr>
          <p:nvPr userDrawn="1"/>
        </p:nvSpPr>
        <p:spPr bwMode="auto">
          <a:xfrm>
            <a:off x="4758960" y="3715910"/>
            <a:ext cx="45868" cy="51981"/>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6" name="Freeform 1576"/>
          <p:cNvSpPr>
            <a:spLocks/>
          </p:cNvSpPr>
          <p:nvPr userDrawn="1"/>
        </p:nvSpPr>
        <p:spPr bwMode="auto">
          <a:xfrm>
            <a:off x="4738779" y="3615945"/>
            <a:ext cx="128430" cy="117956"/>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7" name="Freeform 1577"/>
          <p:cNvSpPr>
            <a:spLocks/>
          </p:cNvSpPr>
          <p:nvPr userDrawn="1"/>
        </p:nvSpPr>
        <p:spPr bwMode="auto">
          <a:xfrm>
            <a:off x="4656216" y="3406025"/>
            <a:ext cx="135769" cy="87967"/>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8" name="Freeform 1578"/>
          <p:cNvSpPr>
            <a:spLocks/>
          </p:cNvSpPr>
          <p:nvPr userDrawn="1"/>
        </p:nvSpPr>
        <p:spPr bwMode="auto">
          <a:xfrm>
            <a:off x="4615851" y="3182107"/>
            <a:ext cx="199985" cy="205924"/>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9" name="Freeform 1579"/>
          <p:cNvSpPr>
            <a:spLocks/>
          </p:cNvSpPr>
          <p:nvPr userDrawn="1"/>
        </p:nvSpPr>
        <p:spPr bwMode="auto">
          <a:xfrm>
            <a:off x="4753456" y="3056153"/>
            <a:ext cx="148613" cy="95965"/>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0" name="Freeform 1580"/>
          <p:cNvSpPr>
            <a:spLocks/>
          </p:cNvSpPr>
          <p:nvPr userDrawn="1"/>
        </p:nvSpPr>
        <p:spPr bwMode="auto">
          <a:xfrm>
            <a:off x="4571818" y="3318057"/>
            <a:ext cx="139438" cy="89967"/>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1" name="Freeform 1581"/>
          <p:cNvSpPr>
            <a:spLocks/>
          </p:cNvSpPr>
          <p:nvPr userDrawn="1"/>
        </p:nvSpPr>
        <p:spPr bwMode="auto">
          <a:xfrm>
            <a:off x="4782811" y="3543972"/>
            <a:ext cx="126595" cy="85968"/>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2" name="Freeform 1582"/>
          <p:cNvSpPr>
            <a:spLocks/>
          </p:cNvSpPr>
          <p:nvPr userDrawn="1"/>
        </p:nvSpPr>
        <p:spPr bwMode="auto">
          <a:xfrm>
            <a:off x="4604843" y="3469999"/>
            <a:ext cx="117422" cy="109960"/>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3" name="Freeform 1583"/>
          <p:cNvSpPr>
            <a:spLocks/>
          </p:cNvSpPr>
          <p:nvPr userDrawn="1"/>
        </p:nvSpPr>
        <p:spPr bwMode="auto">
          <a:xfrm>
            <a:off x="4720430" y="3589955"/>
            <a:ext cx="36694" cy="85968"/>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4" name="Freeform 1584"/>
          <p:cNvSpPr>
            <a:spLocks/>
          </p:cNvSpPr>
          <p:nvPr userDrawn="1"/>
        </p:nvSpPr>
        <p:spPr bwMode="auto">
          <a:xfrm>
            <a:off x="4755290" y="3120131"/>
            <a:ext cx="115588" cy="95965"/>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5" name="Freeform 1585"/>
          <p:cNvSpPr>
            <a:spLocks/>
          </p:cNvSpPr>
          <p:nvPr userDrawn="1"/>
        </p:nvSpPr>
        <p:spPr bwMode="auto">
          <a:xfrm>
            <a:off x="4703918" y="3479997"/>
            <a:ext cx="88067" cy="133950"/>
          </a:xfrm>
          <a:custGeom>
            <a:avLst/>
            <a:gdLst/>
            <a:ahLst/>
            <a:cxnLst>
              <a:cxn ang="0">
                <a:pos x="23" y="33"/>
              </a:cxn>
              <a:cxn ang="0">
                <a:pos x="24" y="42"/>
              </a:cxn>
              <a:cxn ang="0">
                <a:pos x="25" y="49"/>
              </a:cxn>
              <a:cxn ang="0">
                <a:pos x="32" y="49"/>
              </a:cxn>
              <a:cxn ang="0">
                <a:pos x="29" y="53"/>
              </a:cxn>
              <a:cxn ang="0">
                <a:pos x="27" y="60"/>
              </a:cxn>
              <a:cxn ang="0">
                <a:pos x="32" y="64"/>
              </a:cxn>
              <a:cxn ang="0">
                <a:pos x="42" y="67"/>
              </a:cxn>
              <a:cxn ang="0">
                <a:pos x="52" y="70"/>
              </a:cxn>
              <a:cxn ang="0">
                <a:pos x="45" y="73"/>
              </a:cxn>
              <a:cxn ang="0">
                <a:pos x="37" y="78"/>
              </a:cxn>
              <a:cxn ang="0">
                <a:pos x="39" y="92"/>
              </a:cxn>
              <a:cxn ang="0">
                <a:pos x="52" y="100"/>
              </a:cxn>
              <a:cxn ang="0">
                <a:pos x="46" y="115"/>
              </a:cxn>
              <a:cxn ang="0">
                <a:pos x="39" y="130"/>
              </a:cxn>
              <a:cxn ang="0">
                <a:pos x="39" y="145"/>
              </a:cxn>
              <a:cxn ang="0">
                <a:pos x="48" y="146"/>
              </a:cxn>
              <a:cxn ang="0">
                <a:pos x="54" y="156"/>
              </a:cxn>
              <a:cxn ang="0">
                <a:pos x="58" y="159"/>
              </a:cxn>
              <a:cxn ang="0">
                <a:pos x="66" y="166"/>
              </a:cxn>
              <a:cxn ang="0">
                <a:pos x="48" y="167"/>
              </a:cxn>
              <a:cxn ang="0">
                <a:pos x="46" y="171"/>
              </a:cxn>
              <a:cxn ang="0">
                <a:pos x="61" y="188"/>
              </a:cxn>
              <a:cxn ang="0">
                <a:pos x="56" y="199"/>
              </a:cxn>
              <a:cxn ang="0">
                <a:pos x="48" y="201"/>
              </a:cxn>
              <a:cxn ang="0">
                <a:pos x="37" y="205"/>
              </a:cxn>
              <a:cxn ang="0">
                <a:pos x="31" y="202"/>
              </a:cxn>
              <a:cxn ang="0">
                <a:pos x="32" y="210"/>
              </a:cxn>
              <a:cxn ang="0">
                <a:pos x="35" y="223"/>
              </a:cxn>
              <a:cxn ang="0">
                <a:pos x="30" y="223"/>
              </a:cxn>
              <a:cxn ang="0">
                <a:pos x="23" y="217"/>
              </a:cxn>
              <a:cxn ang="0">
                <a:pos x="11" y="232"/>
              </a:cxn>
              <a:cxn ang="0">
                <a:pos x="4" y="242"/>
              </a:cxn>
              <a:cxn ang="0">
                <a:pos x="0" y="254"/>
              </a:cxn>
              <a:cxn ang="0">
                <a:pos x="5" y="265"/>
              </a:cxn>
              <a:cxn ang="0">
                <a:pos x="0" y="285"/>
              </a:cxn>
              <a:cxn ang="0">
                <a:pos x="36" y="314"/>
              </a:cxn>
              <a:cxn ang="0">
                <a:pos x="53" y="315"/>
              </a:cxn>
              <a:cxn ang="0">
                <a:pos x="63" y="285"/>
              </a:cxn>
              <a:cxn ang="0">
                <a:pos x="91" y="284"/>
              </a:cxn>
              <a:cxn ang="0">
                <a:pos x="120" y="315"/>
              </a:cxn>
              <a:cxn ang="0">
                <a:pos x="129" y="314"/>
              </a:cxn>
              <a:cxn ang="0">
                <a:pos x="150" y="301"/>
              </a:cxn>
              <a:cxn ang="0">
                <a:pos x="159" y="303"/>
              </a:cxn>
              <a:cxn ang="0">
                <a:pos x="186" y="298"/>
              </a:cxn>
              <a:cxn ang="0">
                <a:pos x="218" y="302"/>
              </a:cxn>
              <a:cxn ang="0">
                <a:pos x="241" y="241"/>
              </a:cxn>
              <a:cxn ang="0">
                <a:pos x="215" y="188"/>
              </a:cxn>
              <a:cxn ang="0">
                <a:pos x="225" y="157"/>
              </a:cxn>
              <a:cxn ang="0">
                <a:pos x="220" y="119"/>
              </a:cxn>
              <a:cxn ang="0">
                <a:pos x="166" y="105"/>
              </a:cxn>
              <a:cxn ang="0">
                <a:pos x="154" y="76"/>
              </a:cxn>
              <a:cxn ang="0">
                <a:pos x="129" y="42"/>
              </a:cxn>
              <a:cxn ang="0">
                <a:pos x="99" y="11"/>
              </a:cxn>
              <a:cxn ang="0">
                <a:pos x="78" y="5"/>
              </a:cxn>
              <a:cxn ang="0">
                <a:pos x="35" y="16"/>
              </a:cxn>
            </a:cxnLst>
            <a:rect l="0" t="0" r="r" b="b"/>
            <a:pathLst>
              <a:path w="241" h="331">
                <a:moveTo>
                  <a:pt x="14" y="22"/>
                </a:moveTo>
                <a:lnTo>
                  <a:pt x="23" y="29"/>
                </a:lnTo>
                <a:lnTo>
                  <a:pt x="23" y="33"/>
                </a:lnTo>
                <a:lnTo>
                  <a:pt x="21" y="35"/>
                </a:lnTo>
                <a:lnTo>
                  <a:pt x="24" y="38"/>
                </a:lnTo>
                <a:lnTo>
                  <a:pt x="24" y="42"/>
                </a:lnTo>
                <a:lnTo>
                  <a:pt x="21" y="45"/>
                </a:lnTo>
                <a:lnTo>
                  <a:pt x="21" y="48"/>
                </a:lnTo>
                <a:lnTo>
                  <a:pt x="25" y="49"/>
                </a:lnTo>
                <a:lnTo>
                  <a:pt x="27" y="46"/>
                </a:lnTo>
                <a:lnTo>
                  <a:pt x="29" y="46"/>
                </a:lnTo>
                <a:lnTo>
                  <a:pt x="32" y="49"/>
                </a:lnTo>
                <a:lnTo>
                  <a:pt x="32" y="51"/>
                </a:lnTo>
                <a:lnTo>
                  <a:pt x="30" y="53"/>
                </a:lnTo>
                <a:lnTo>
                  <a:pt x="29" y="53"/>
                </a:lnTo>
                <a:lnTo>
                  <a:pt x="27" y="55"/>
                </a:lnTo>
                <a:lnTo>
                  <a:pt x="29" y="56"/>
                </a:lnTo>
                <a:lnTo>
                  <a:pt x="27" y="60"/>
                </a:lnTo>
                <a:lnTo>
                  <a:pt x="27" y="61"/>
                </a:lnTo>
                <a:lnTo>
                  <a:pt x="29" y="64"/>
                </a:lnTo>
                <a:lnTo>
                  <a:pt x="32" y="64"/>
                </a:lnTo>
                <a:lnTo>
                  <a:pt x="34" y="65"/>
                </a:lnTo>
                <a:lnTo>
                  <a:pt x="37" y="67"/>
                </a:lnTo>
                <a:lnTo>
                  <a:pt x="42" y="67"/>
                </a:lnTo>
                <a:lnTo>
                  <a:pt x="46" y="70"/>
                </a:lnTo>
                <a:lnTo>
                  <a:pt x="50" y="69"/>
                </a:lnTo>
                <a:lnTo>
                  <a:pt x="52" y="70"/>
                </a:lnTo>
                <a:lnTo>
                  <a:pt x="52" y="72"/>
                </a:lnTo>
                <a:lnTo>
                  <a:pt x="48" y="75"/>
                </a:lnTo>
                <a:lnTo>
                  <a:pt x="45" y="73"/>
                </a:lnTo>
                <a:lnTo>
                  <a:pt x="41" y="72"/>
                </a:lnTo>
                <a:lnTo>
                  <a:pt x="39" y="73"/>
                </a:lnTo>
                <a:lnTo>
                  <a:pt x="37" y="78"/>
                </a:lnTo>
                <a:lnTo>
                  <a:pt x="35" y="81"/>
                </a:lnTo>
                <a:lnTo>
                  <a:pt x="37" y="91"/>
                </a:lnTo>
                <a:lnTo>
                  <a:pt x="39" y="92"/>
                </a:lnTo>
                <a:lnTo>
                  <a:pt x="37" y="97"/>
                </a:lnTo>
                <a:lnTo>
                  <a:pt x="50" y="97"/>
                </a:lnTo>
                <a:lnTo>
                  <a:pt x="52" y="100"/>
                </a:lnTo>
                <a:lnTo>
                  <a:pt x="51" y="104"/>
                </a:lnTo>
                <a:lnTo>
                  <a:pt x="51" y="108"/>
                </a:lnTo>
                <a:lnTo>
                  <a:pt x="46" y="115"/>
                </a:lnTo>
                <a:lnTo>
                  <a:pt x="41" y="126"/>
                </a:lnTo>
                <a:lnTo>
                  <a:pt x="39" y="128"/>
                </a:lnTo>
                <a:lnTo>
                  <a:pt x="39" y="130"/>
                </a:lnTo>
                <a:lnTo>
                  <a:pt x="40" y="132"/>
                </a:lnTo>
                <a:lnTo>
                  <a:pt x="36" y="137"/>
                </a:lnTo>
                <a:lnTo>
                  <a:pt x="39" y="145"/>
                </a:lnTo>
                <a:lnTo>
                  <a:pt x="42" y="145"/>
                </a:lnTo>
                <a:lnTo>
                  <a:pt x="45" y="147"/>
                </a:lnTo>
                <a:lnTo>
                  <a:pt x="48" y="146"/>
                </a:lnTo>
                <a:lnTo>
                  <a:pt x="50" y="148"/>
                </a:lnTo>
                <a:lnTo>
                  <a:pt x="51" y="152"/>
                </a:lnTo>
                <a:lnTo>
                  <a:pt x="54" y="156"/>
                </a:lnTo>
                <a:lnTo>
                  <a:pt x="58" y="156"/>
                </a:lnTo>
                <a:lnTo>
                  <a:pt x="58" y="157"/>
                </a:lnTo>
                <a:lnTo>
                  <a:pt x="58" y="159"/>
                </a:lnTo>
                <a:lnTo>
                  <a:pt x="63" y="162"/>
                </a:lnTo>
                <a:lnTo>
                  <a:pt x="66" y="163"/>
                </a:lnTo>
                <a:lnTo>
                  <a:pt x="66" y="166"/>
                </a:lnTo>
                <a:lnTo>
                  <a:pt x="62" y="171"/>
                </a:lnTo>
                <a:lnTo>
                  <a:pt x="53" y="171"/>
                </a:lnTo>
                <a:lnTo>
                  <a:pt x="48" y="167"/>
                </a:lnTo>
                <a:lnTo>
                  <a:pt x="46" y="167"/>
                </a:lnTo>
                <a:lnTo>
                  <a:pt x="45" y="169"/>
                </a:lnTo>
                <a:lnTo>
                  <a:pt x="46" y="171"/>
                </a:lnTo>
                <a:lnTo>
                  <a:pt x="52" y="178"/>
                </a:lnTo>
                <a:lnTo>
                  <a:pt x="58" y="186"/>
                </a:lnTo>
                <a:lnTo>
                  <a:pt x="61" y="188"/>
                </a:lnTo>
                <a:lnTo>
                  <a:pt x="59" y="195"/>
                </a:lnTo>
                <a:lnTo>
                  <a:pt x="58" y="198"/>
                </a:lnTo>
                <a:lnTo>
                  <a:pt x="56" y="199"/>
                </a:lnTo>
                <a:lnTo>
                  <a:pt x="53" y="198"/>
                </a:lnTo>
                <a:lnTo>
                  <a:pt x="51" y="198"/>
                </a:lnTo>
                <a:lnTo>
                  <a:pt x="48" y="201"/>
                </a:lnTo>
                <a:lnTo>
                  <a:pt x="43" y="204"/>
                </a:lnTo>
                <a:lnTo>
                  <a:pt x="40" y="204"/>
                </a:lnTo>
                <a:lnTo>
                  <a:pt x="37" y="205"/>
                </a:lnTo>
                <a:lnTo>
                  <a:pt x="35" y="205"/>
                </a:lnTo>
                <a:lnTo>
                  <a:pt x="34" y="202"/>
                </a:lnTo>
                <a:lnTo>
                  <a:pt x="31" y="202"/>
                </a:lnTo>
                <a:lnTo>
                  <a:pt x="27" y="206"/>
                </a:lnTo>
                <a:lnTo>
                  <a:pt x="29" y="209"/>
                </a:lnTo>
                <a:lnTo>
                  <a:pt x="32" y="210"/>
                </a:lnTo>
                <a:lnTo>
                  <a:pt x="34" y="215"/>
                </a:lnTo>
                <a:lnTo>
                  <a:pt x="35" y="218"/>
                </a:lnTo>
                <a:lnTo>
                  <a:pt x="35" y="223"/>
                </a:lnTo>
                <a:lnTo>
                  <a:pt x="34" y="226"/>
                </a:lnTo>
                <a:lnTo>
                  <a:pt x="31" y="226"/>
                </a:lnTo>
                <a:lnTo>
                  <a:pt x="30" y="223"/>
                </a:lnTo>
                <a:lnTo>
                  <a:pt x="29" y="218"/>
                </a:lnTo>
                <a:lnTo>
                  <a:pt x="26" y="217"/>
                </a:lnTo>
                <a:lnTo>
                  <a:pt x="23" y="217"/>
                </a:lnTo>
                <a:lnTo>
                  <a:pt x="14" y="225"/>
                </a:lnTo>
                <a:lnTo>
                  <a:pt x="13" y="229"/>
                </a:lnTo>
                <a:lnTo>
                  <a:pt x="11" y="232"/>
                </a:lnTo>
                <a:lnTo>
                  <a:pt x="11" y="239"/>
                </a:lnTo>
                <a:lnTo>
                  <a:pt x="9" y="242"/>
                </a:lnTo>
                <a:lnTo>
                  <a:pt x="4" y="242"/>
                </a:lnTo>
                <a:lnTo>
                  <a:pt x="2" y="244"/>
                </a:lnTo>
                <a:lnTo>
                  <a:pt x="2" y="253"/>
                </a:lnTo>
                <a:lnTo>
                  <a:pt x="0" y="254"/>
                </a:lnTo>
                <a:lnTo>
                  <a:pt x="0" y="258"/>
                </a:lnTo>
                <a:lnTo>
                  <a:pt x="3" y="263"/>
                </a:lnTo>
                <a:lnTo>
                  <a:pt x="5" y="265"/>
                </a:lnTo>
                <a:lnTo>
                  <a:pt x="5" y="270"/>
                </a:lnTo>
                <a:lnTo>
                  <a:pt x="0" y="277"/>
                </a:lnTo>
                <a:lnTo>
                  <a:pt x="0" y="285"/>
                </a:lnTo>
                <a:lnTo>
                  <a:pt x="16" y="297"/>
                </a:lnTo>
                <a:lnTo>
                  <a:pt x="27" y="308"/>
                </a:lnTo>
                <a:lnTo>
                  <a:pt x="36" y="314"/>
                </a:lnTo>
                <a:lnTo>
                  <a:pt x="42" y="326"/>
                </a:lnTo>
                <a:lnTo>
                  <a:pt x="48" y="331"/>
                </a:lnTo>
                <a:lnTo>
                  <a:pt x="53" y="315"/>
                </a:lnTo>
                <a:lnTo>
                  <a:pt x="51" y="304"/>
                </a:lnTo>
                <a:lnTo>
                  <a:pt x="56" y="290"/>
                </a:lnTo>
                <a:lnTo>
                  <a:pt x="63" y="285"/>
                </a:lnTo>
                <a:lnTo>
                  <a:pt x="69" y="275"/>
                </a:lnTo>
                <a:lnTo>
                  <a:pt x="77" y="282"/>
                </a:lnTo>
                <a:lnTo>
                  <a:pt x="91" y="284"/>
                </a:lnTo>
                <a:lnTo>
                  <a:pt x="97" y="295"/>
                </a:lnTo>
                <a:lnTo>
                  <a:pt x="107" y="299"/>
                </a:lnTo>
                <a:lnTo>
                  <a:pt x="120" y="315"/>
                </a:lnTo>
                <a:lnTo>
                  <a:pt x="121" y="317"/>
                </a:lnTo>
                <a:lnTo>
                  <a:pt x="126" y="317"/>
                </a:lnTo>
                <a:lnTo>
                  <a:pt x="129" y="314"/>
                </a:lnTo>
                <a:lnTo>
                  <a:pt x="129" y="306"/>
                </a:lnTo>
                <a:lnTo>
                  <a:pt x="147" y="299"/>
                </a:lnTo>
                <a:lnTo>
                  <a:pt x="150" y="301"/>
                </a:lnTo>
                <a:lnTo>
                  <a:pt x="156" y="308"/>
                </a:lnTo>
                <a:lnTo>
                  <a:pt x="159" y="308"/>
                </a:lnTo>
                <a:lnTo>
                  <a:pt x="159" y="303"/>
                </a:lnTo>
                <a:lnTo>
                  <a:pt x="166" y="298"/>
                </a:lnTo>
                <a:lnTo>
                  <a:pt x="182" y="302"/>
                </a:lnTo>
                <a:lnTo>
                  <a:pt x="186" y="298"/>
                </a:lnTo>
                <a:lnTo>
                  <a:pt x="201" y="301"/>
                </a:lnTo>
                <a:lnTo>
                  <a:pt x="212" y="299"/>
                </a:lnTo>
                <a:lnTo>
                  <a:pt x="218" y="302"/>
                </a:lnTo>
                <a:lnTo>
                  <a:pt x="218" y="277"/>
                </a:lnTo>
                <a:lnTo>
                  <a:pt x="230" y="253"/>
                </a:lnTo>
                <a:lnTo>
                  <a:pt x="241" y="241"/>
                </a:lnTo>
                <a:lnTo>
                  <a:pt x="226" y="225"/>
                </a:lnTo>
                <a:lnTo>
                  <a:pt x="218" y="210"/>
                </a:lnTo>
                <a:lnTo>
                  <a:pt x="215" y="188"/>
                </a:lnTo>
                <a:lnTo>
                  <a:pt x="218" y="167"/>
                </a:lnTo>
                <a:lnTo>
                  <a:pt x="235" y="159"/>
                </a:lnTo>
                <a:lnTo>
                  <a:pt x="225" y="157"/>
                </a:lnTo>
                <a:lnTo>
                  <a:pt x="218" y="141"/>
                </a:lnTo>
                <a:lnTo>
                  <a:pt x="228" y="130"/>
                </a:lnTo>
                <a:lnTo>
                  <a:pt x="220" y="119"/>
                </a:lnTo>
                <a:lnTo>
                  <a:pt x="209" y="128"/>
                </a:lnTo>
                <a:lnTo>
                  <a:pt x="181" y="118"/>
                </a:lnTo>
                <a:lnTo>
                  <a:pt x="166" y="105"/>
                </a:lnTo>
                <a:lnTo>
                  <a:pt x="165" y="91"/>
                </a:lnTo>
                <a:lnTo>
                  <a:pt x="163" y="81"/>
                </a:lnTo>
                <a:lnTo>
                  <a:pt x="154" y="76"/>
                </a:lnTo>
                <a:lnTo>
                  <a:pt x="143" y="73"/>
                </a:lnTo>
                <a:lnTo>
                  <a:pt x="134" y="60"/>
                </a:lnTo>
                <a:lnTo>
                  <a:pt x="129" y="42"/>
                </a:lnTo>
                <a:lnTo>
                  <a:pt x="124" y="29"/>
                </a:lnTo>
                <a:lnTo>
                  <a:pt x="113" y="17"/>
                </a:lnTo>
                <a:lnTo>
                  <a:pt x="99" y="11"/>
                </a:lnTo>
                <a:lnTo>
                  <a:pt x="94" y="7"/>
                </a:lnTo>
                <a:lnTo>
                  <a:pt x="90" y="0"/>
                </a:lnTo>
                <a:lnTo>
                  <a:pt x="78" y="5"/>
                </a:lnTo>
                <a:lnTo>
                  <a:pt x="66" y="5"/>
                </a:lnTo>
                <a:lnTo>
                  <a:pt x="50" y="16"/>
                </a:lnTo>
                <a:lnTo>
                  <a:pt x="35" y="16"/>
                </a:lnTo>
                <a:lnTo>
                  <a:pt x="29" y="21"/>
                </a:lnTo>
                <a:lnTo>
                  <a:pt x="14"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6" name="Freeform 1586"/>
          <p:cNvSpPr>
            <a:spLocks/>
          </p:cNvSpPr>
          <p:nvPr userDrawn="1"/>
        </p:nvSpPr>
        <p:spPr bwMode="auto">
          <a:xfrm>
            <a:off x="4672727" y="3372036"/>
            <a:ext cx="110082" cy="59978"/>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7" name="Freeform 1587"/>
          <p:cNvSpPr>
            <a:spLocks/>
          </p:cNvSpPr>
          <p:nvPr userDrawn="1"/>
        </p:nvSpPr>
        <p:spPr bwMode="auto">
          <a:xfrm>
            <a:off x="4603008" y="3460003"/>
            <a:ext cx="62381" cy="49982"/>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8" name="Freeform 1588"/>
          <p:cNvSpPr>
            <a:spLocks/>
          </p:cNvSpPr>
          <p:nvPr userDrawn="1"/>
        </p:nvSpPr>
        <p:spPr bwMode="auto">
          <a:xfrm>
            <a:off x="4746116" y="3599951"/>
            <a:ext cx="47703" cy="41984"/>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9" name="Freeform 1589"/>
          <p:cNvSpPr>
            <a:spLocks/>
          </p:cNvSpPr>
          <p:nvPr userDrawn="1"/>
        </p:nvSpPr>
        <p:spPr bwMode="auto">
          <a:xfrm>
            <a:off x="4738778" y="3414021"/>
            <a:ext cx="190811" cy="145946"/>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0" name="Freeform 1590"/>
          <p:cNvSpPr>
            <a:spLocks/>
          </p:cNvSpPr>
          <p:nvPr userDrawn="1"/>
        </p:nvSpPr>
        <p:spPr bwMode="auto">
          <a:xfrm>
            <a:off x="4802994" y="2990178"/>
            <a:ext cx="99075" cy="87967"/>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1" name="Freeform 1591"/>
          <p:cNvSpPr>
            <a:spLocks/>
          </p:cNvSpPr>
          <p:nvPr userDrawn="1"/>
        </p:nvSpPr>
        <p:spPr bwMode="auto">
          <a:xfrm>
            <a:off x="4746116" y="2444380"/>
            <a:ext cx="218332" cy="535801"/>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2" name="Freeform 1592"/>
          <p:cNvSpPr>
            <a:spLocks/>
          </p:cNvSpPr>
          <p:nvPr userDrawn="1"/>
        </p:nvSpPr>
        <p:spPr bwMode="auto">
          <a:xfrm>
            <a:off x="4494760" y="3070148"/>
            <a:ext cx="56876" cy="11395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3" name="Freeform 1593"/>
          <p:cNvSpPr>
            <a:spLocks/>
          </p:cNvSpPr>
          <p:nvPr userDrawn="1"/>
        </p:nvSpPr>
        <p:spPr bwMode="auto">
          <a:xfrm>
            <a:off x="4434215" y="2378404"/>
            <a:ext cx="522894" cy="679748"/>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4" name="Freeform 1594"/>
          <p:cNvSpPr>
            <a:spLocks/>
          </p:cNvSpPr>
          <p:nvPr userDrawn="1"/>
        </p:nvSpPr>
        <p:spPr bwMode="auto">
          <a:xfrm>
            <a:off x="4555307" y="2506358"/>
            <a:ext cx="262365" cy="655757"/>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5" name="Freeform 1596"/>
          <p:cNvSpPr>
            <a:spLocks/>
          </p:cNvSpPr>
          <p:nvPr userDrawn="1"/>
        </p:nvSpPr>
        <p:spPr bwMode="auto">
          <a:xfrm>
            <a:off x="4547967" y="1568705"/>
            <a:ext cx="216497" cy="373861"/>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6" name="Freeform 1597"/>
          <p:cNvSpPr>
            <a:spLocks/>
          </p:cNvSpPr>
          <p:nvPr userDrawn="1"/>
        </p:nvSpPr>
        <p:spPr bwMode="auto">
          <a:xfrm>
            <a:off x="4738778" y="1732644"/>
            <a:ext cx="45868" cy="4598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7" name="Freeform 1598"/>
          <p:cNvSpPr>
            <a:spLocks/>
          </p:cNvSpPr>
          <p:nvPr userDrawn="1"/>
        </p:nvSpPr>
        <p:spPr bwMode="auto">
          <a:xfrm>
            <a:off x="4801159" y="1788624"/>
            <a:ext cx="1834" cy="1999"/>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8" name="Freeform 1599"/>
          <p:cNvSpPr>
            <a:spLocks/>
          </p:cNvSpPr>
          <p:nvPr userDrawn="1"/>
        </p:nvSpPr>
        <p:spPr bwMode="auto">
          <a:xfrm>
            <a:off x="4801159" y="1790623"/>
            <a:ext cx="1834" cy="199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9" name="Freeform 1600"/>
          <p:cNvSpPr>
            <a:spLocks/>
          </p:cNvSpPr>
          <p:nvPr userDrawn="1"/>
        </p:nvSpPr>
        <p:spPr bwMode="auto">
          <a:xfrm>
            <a:off x="4751621" y="1768631"/>
            <a:ext cx="82562" cy="107960"/>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40" name="Freeform 1601"/>
          <p:cNvSpPr>
            <a:spLocks/>
          </p:cNvSpPr>
          <p:nvPr userDrawn="1"/>
        </p:nvSpPr>
        <p:spPr bwMode="auto">
          <a:xfrm>
            <a:off x="4698414" y="1568704"/>
            <a:ext cx="181638" cy="10396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pic>
        <p:nvPicPr>
          <p:cNvPr id="941" name="Grafik 66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32947" y="4019209"/>
            <a:ext cx="535073" cy="149318"/>
          </a:xfrm>
          <a:prstGeom prst="rect">
            <a:avLst/>
          </a:prstGeom>
        </p:spPr>
      </p:pic>
      <p:pic>
        <p:nvPicPr>
          <p:cNvPr id="942" name="Grafik 67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36643" y="2220689"/>
            <a:ext cx="502161" cy="152290"/>
          </a:xfrm>
          <a:prstGeom prst="rect">
            <a:avLst/>
          </a:prstGeom>
        </p:spPr>
      </p:pic>
      <p:pic>
        <p:nvPicPr>
          <p:cNvPr id="943" name="Grafik 67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690157" y="1988840"/>
            <a:ext cx="544586" cy="159876"/>
          </a:xfrm>
          <a:prstGeom prst="rect">
            <a:avLst/>
          </a:prstGeom>
        </p:spPr>
      </p:pic>
      <p:pic>
        <p:nvPicPr>
          <p:cNvPr id="944" name="Grafik 67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356332" y="4120395"/>
            <a:ext cx="512383" cy="148860"/>
          </a:xfrm>
          <a:prstGeom prst="rect">
            <a:avLst/>
          </a:prstGeom>
        </p:spPr>
      </p:pic>
      <p:pic>
        <p:nvPicPr>
          <p:cNvPr id="945" name="Grafik 67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5084605" y="1812889"/>
            <a:ext cx="547364" cy="160692"/>
          </a:xfrm>
          <a:prstGeom prst="rect">
            <a:avLst/>
          </a:prstGeom>
        </p:spPr>
      </p:pic>
      <p:pic>
        <p:nvPicPr>
          <p:cNvPr id="946" name="Grafik 67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352499" y="3933056"/>
            <a:ext cx="554812" cy="153366"/>
          </a:xfrm>
          <a:prstGeom prst="rect">
            <a:avLst/>
          </a:prstGeom>
        </p:spPr>
      </p:pic>
      <p:pic>
        <p:nvPicPr>
          <p:cNvPr id="947" name="Grafik 677"/>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3239489" y="3061754"/>
            <a:ext cx="864309" cy="180727"/>
          </a:xfrm>
          <a:prstGeom prst="rect">
            <a:avLst/>
          </a:prstGeom>
        </p:spPr>
      </p:pic>
      <p:pic>
        <p:nvPicPr>
          <p:cNvPr id="948" name="Grafik 67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874938" y="2385643"/>
            <a:ext cx="510233" cy="151380"/>
          </a:xfrm>
          <a:prstGeom prst="rect">
            <a:avLst/>
          </a:prstGeom>
        </p:spPr>
      </p:pic>
      <p:pic>
        <p:nvPicPr>
          <p:cNvPr id="949" name="Grafik 679"/>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370767" y="3517502"/>
            <a:ext cx="424940" cy="154905"/>
          </a:xfrm>
          <a:prstGeom prst="rect">
            <a:avLst/>
          </a:prstGeom>
        </p:spPr>
      </p:pic>
      <p:pic>
        <p:nvPicPr>
          <p:cNvPr id="950" name="Grafik 680"/>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368871" y="3719489"/>
            <a:ext cx="426836" cy="155596"/>
          </a:xfrm>
          <a:prstGeom prst="rect">
            <a:avLst/>
          </a:prstGeom>
        </p:spPr>
      </p:pic>
      <p:cxnSp>
        <p:nvCxnSpPr>
          <p:cNvPr id="951" name="Gerade Verbindung 681"/>
          <p:cNvCxnSpPr/>
          <p:nvPr userDrawn="1"/>
        </p:nvCxnSpPr>
        <p:spPr>
          <a:xfrm>
            <a:off x="1711033" y="4075695"/>
            <a:ext cx="542799"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2" name="Gerade Verbindung 682"/>
          <p:cNvCxnSpPr/>
          <p:nvPr userDrawn="1"/>
        </p:nvCxnSpPr>
        <p:spPr>
          <a:xfrm>
            <a:off x="4971490" y="2119815"/>
            <a:ext cx="1256" cy="125222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3" name="Gewinkelte Verbindung 649"/>
          <p:cNvCxnSpPr/>
          <p:nvPr userDrawn="1"/>
        </p:nvCxnSpPr>
        <p:spPr>
          <a:xfrm flipV="1">
            <a:off x="5041023" y="1944655"/>
            <a:ext cx="320786" cy="1016171"/>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4" name="Gerade Verbindung 684"/>
          <p:cNvCxnSpPr/>
          <p:nvPr userDrawn="1"/>
        </p:nvCxnSpPr>
        <p:spPr>
          <a:xfrm>
            <a:off x="4703919" y="2344272"/>
            <a:ext cx="7714" cy="91343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5" name="Gewinkelte Verbindung 685"/>
          <p:cNvCxnSpPr/>
          <p:nvPr userDrawn="1"/>
        </p:nvCxnSpPr>
        <p:spPr>
          <a:xfrm flipV="1">
            <a:off x="3949849" y="3780141"/>
            <a:ext cx="571578" cy="388386"/>
          </a:xfrm>
          <a:prstGeom prst="bentConnector3">
            <a:avLst>
              <a:gd name="adj1" fmla="val 99444"/>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6" name="Gewinkelte Verbindung 652"/>
          <p:cNvCxnSpPr/>
          <p:nvPr userDrawn="1"/>
        </p:nvCxnSpPr>
        <p:spPr>
          <a:xfrm>
            <a:off x="4395686" y="2454483"/>
            <a:ext cx="243159" cy="87913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7" name="Gewinkelte Verbindung 653"/>
          <p:cNvCxnSpPr>
            <a:stCxn id="692" idx="0"/>
          </p:cNvCxnSpPr>
          <p:nvPr userDrawn="1"/>
        </p:nvCxnSpPr>
        <p:spPr>
          <a:xfrm rot="16200000" flipV="1">
            <a:off x="4233944" y="2996390"/>
            <a:ext cx="187077" cy="40257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8" name="Gewinkelte Verbindung 688"/>
          <p:cNvCxnSpPr>
            <a:endCxn id="637" idx="45"/>
          </p:cNvCxnSpPr>
          <p:nvPr userDrawn="1"/>
        </p:nvCxnSpPr>
        <p:spPr>
          <a:xfrm rot="10800000">
            <a:off x="4126196" y="3170271"/>
            <a:ext cx="297927" cy="163526"/>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9" name="Gewinkelte Verbindung 689"/>
          <p:cNvCxnSpPr/>
          <p:nvPr userDrawn="1"/>
        </p:nvCxnSpPr>
        <p:spPr>
          <a:xfrm rot="16200000" flipV="1">
            <a:off x="3958514" y="3317489"/>
            <a:ext cx="385988" cy="255078"/>
          </a:xfrm>
          <a:prstGeom prst="bentConnector3">
            <a:avLst>
              <a:gd name="adj1" fmla="val -81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60" name="Oval 1609"/>
          <p:cNvSpPr>
            <a:spLocks noChangeArrowheads="1"/>
          </p:cNvSpPr>
          <p:nvPr userDrawn="1"/>
        </p:nvSpPr>
        <p:spPr bwMode="auto">
          <a:xfrm>
            <a:off x="2225702" y="4041167"/>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1" name="Oval 1750"/>
          <p:cNvSpPr>
            <a:spLocks noChangeArrowheads="1"/>
          </p:cNvSpPr>
          <p:nvPr userDrawn="1"/>
        </p:nvSpPr>
        <p:spPr bwMode="auto">
          <a:xfrm>
            <a:off x="4500635" y="329121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2" name="Oval 1798"/>
          <p:cNvSpPr>
            <a:spLocks noChangeArrowheads="1"/>
          </p:cNvSpPr>
          <p:nvPr userDrawn="1"/>
        </p:nvSpPr>
        <p:spPr bwMode="auto">
          <a:xfrm>
            <a:off x="4401189" y="330332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3" name="Oval 1979"/>
          <p:cNvSpPr>
            <a:spLocks noChangeArrowheads="1"/>
          </p:cNvSpPr>
          <p:nvPr userDrawn="1"/>
        </p:nvSpPr>
        <p:spPr bwMode="auto">
          <a:xfrm>
            <a:off x="4493296" y="378014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4" name="Oval 1751"/>
          <p:cNvSpPr>
            <a:spLocks noChangeArrowheads="1"/>
          </p:cNvSpPr>
          <p:nvPr userDrawn="1"/>
        </p:nvSpPr>
        <p:spPr bwMode="auto">
          <a:xfrm>
            <a:off x="4682874" y="323821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5" name="Oval 1752"/>
          <p:cNvSpPr>
            <a:spLocks noChangeArrowheads="1"/>
          </p:cNvSpPr>
          <p:nvPr userDrawn="1"/>
        </p:nvSpPr>
        <p:spPr bwMode="auto">
          <a:xfrm>
            <a:off x="4944614" y="3350839"/>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6" name="Oval 1761"/>
          <p:cNvSpPr>
            <a:spLocks noChangeArrowheads="1"/>
          </p:cNvSpPr>
          <p:nvPr userDrawn="1"/>
        </p:nvSpPr>
        <p:spPr bwMode="auto">
          <a:xfrm>
            <a:off x="4610713" y="3322956"/>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7" name="Oval 1798"/>
          <p:cNvSpPr>
            <a:spLocks noChangeArrowheads="1"/>
          </p:cNvSpPr>
          <p:nvPr userDrawn="1"/>
        </p:nvSpPr>
        <p:spPr bwMode="auto">
          <a:xfrm>
            <a:off x="5019883" y="293035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8" name="Oval 1835"/>
          <p:cNvSpPr>
            <a:spLocks noChangeArrowheads="1"/>
          </p:cNvSpPr>
          <p:nvPr userDrawn="1"/>
        </p:nvSpPr>
        <p:spPr bwMode="auto">
          <a:xfrm>
            <a:off x="4249903" y="360789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69" name="Gerade Verbindung 699"/>
          <p:cNvCxnSpPr/>
          <p:nvPr userDrawn="1"/>
        </p:nvCxnSpPr>
        <p:spPr>
          <a:xfrm flipH="1">
            <a:off x="3949850" y="3495803"/>
            <a:ext cx="866563" cy="468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70" name="Gewinkelte Verbindung 700"/>
          <p:cNvCxnSpPr/>
          <p:nvPr userDrawn="1"/>
        </p:nvCxnSpPr>
        <p:spPr>
          <a:xfrm flipV="1">
            <a:off x="3949849" y="3584350"/>
            <a:ext cx="883468" cy="220944"/>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71" name="Oval 1805"/>
          <p:cNvSpPr>
            <a:spLocks noChangeArrowheads="1"/>
          </p:cNvSpPr>
          <p:nvPr userDrawn="1"/>
        </p:nvSpPr>
        <p:spPr bwMode="auto">
          <a:xfrm>
            <a:off x="4791729" y="345816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72" name="Oval 1796"/>
          <p:cNvSpPr>
            <a:spLocks noChangeArrowheads="1"/>
          </p:cNvSpPr>
          <p:nvPr userDrawn="1"/>
        </p:nvSpPr>
        <p:spPr bwMode="auto">
          <a:xfrm>
            <a:off x="4805182" y="355754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73" name="Gewinkelte Verbindung 675"/>
          <p:cNvCxnSpPr>
            <a:stCxn id="705" idx="4"/>
          </p:cNvCxnSpPr>
          <p:nvPr userDrawn="1"/>
        </p:nvCxnSpPr>
        <p:spPr>
          <a:xfrm rot="5400000" flipH="1">
            <a:off x="4301984" y="3005217"/>
            <a:ext cx="175887" cy="669522"/>
          </a:xfrm>
          <a:prstGeom prst="bentConnector4">
            <a:avLst>
              <a:gd name="adj1" fmla="val 11947"/>
              <a:gd name="adj2" fmla="val 99509"/>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74" name="Oval 1753"/>
          <p:cNvSpPr>
            <a:spLocks noChangeArrowheads="1"/>
          </p:cNvSpPr>
          <p:nvPr userDrawn="1"/>
        </p:nvSpPr>
        <p:spPr bwMode="auto">
          <a:xfrm>
            <a:off x="4696558" y="336697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75" name="Gewinkelte Verbindung 4"/>
          <p:cNvCxnSpPr/>
          <p:nvPr userDrawn="1"/>
        </p:nvCxnSpPr>
        <p:spPr>
          <a:xfrm rot="5400000">
            <a:off x="4019156" y="3823863"/>
            <a:ext cx="94601" cy="264906"/>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76" name="Gerade Verbindung 706"/>
          <p:cNvCxnSpPr/>
          <p:nvPr userDrawn="1"/>
        </p:nvCxnSpPr>
        <p:spPr>
          <a:xfrm flipV="1">
            <a:off x="6849520" y="3613618"/>
            <a:ext cx="473286" cy="308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77" name="Gerade Verbindung 707"/>
          <p:cNvCxnSpPr/>
          <p:nvPr userDrawn="1"/>
        </p:nvCxnSpPr>
        <p:spPr>
          <a:xfrm flipV="1">
            <a:off x="6630600" y="3809680"/>
            <a:ext cx="692206" cy="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78" name="Oval 1642"/>
          <p:cNvSpPr>
            <a:spLocks noChangeArrowheads="1"/>
          </p:cNvSpPr>
          <p:nvPr userDrawn="1"/>
        </p:nvSpPr>
        <p:spPr bwMode="auto">
          <a:xfrm>
            <a:off x="6608007" y="3772548"/>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79" name="Oval 1642"/>
          <p:cNvSpPr>
            <a:spLocks noChangeArrowheads="1"/>
          </p:cNvSpPr>
          <p:nvPr userDrawn="1"/>
        </p:nvSpPr>
        <p:spPr bwMode="auto">
          <a:xfrm>
            <a:off x="6821390" y="358407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80" name="Oval 1845"/>
          <p:cNvSpPr>
            <a:spLocks noChangeArrowheads="1"/>
          </p:cNvSpPr>
          <p:nvPr userDrawn="1"/>
        </p:nvSpPr>
        <p:spPr bwMode="auto">
          <a:xfrm>
            <a:off x="4166733" y="385699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81" name="Line 13"/>
          <p:cNvSpPr>
            <a:spLocks noChangeShapeType="1"/>
          </p:cNvSpPr>
          <p:nvPr userDrawn="1">
            <p:custDataLst>
              <p:tags r:id="rId3"/>
            </p:custDataLst>
          </p:nvPr>
        </p:nvSpPr>
        <p:spPr bwMode="auto">
          <a:xfrm>
            <a:off x="384458" y="6165304"/>
            <a:ext cx="8507077" cy="0"/>
          </a:xfrm>
          <a:prstGeom prst="line">
            <a:avLst/>
          </a:prstGeom>
          <a:noFill/>
          <a:ln w="12700">
            <a:solidFill>
              <a:schemeClr val="bg1">
                <a:lumMod val="75000"/>
              </a:schemeClr>
            </a:solidFill>
            <a:round/>
            <a:headEnd/>
            <a:tailEnd/>
          </a:ln>
          <a:effectLst/>
        </p:spPr>
        <p:txBody>
          <a:bodyPr/>
          <a:lstStyle/>
          <a:p>
            <a:endParaRPr lang="en-US"/>
          </a:p>
        </p:txBody>
      </p:sp>
      <p:pic>
        <p:nvPicPr>
          <p:cNvPr id="982" name="Grafik 33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356800" y="3738977"/>
            <a:ext cx="566875" cy="166420"/>
          </a:xfrm>
          <a:prstGeom prst="rect">
            <a:avLst/>
          </a:prstGeom>
        </p:spPr>
      </p:pic>
      <p:pic>
        <p:nvPicPr>
          <p:cNvPr id="1055" name="Grafik 33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3352499" y="3436315"/>
            <a:ext cx="540986" cy="158820"/>
          </a:xfrm>
          <a:prstGeom prst="rect">
            <a:avLst/>
          </a:prstGeom>
        </p:spPr>
      </p:pic>
      <p:pic>
        <p:nvPicPr>
          <p:cNvPr id="1056" name="Grafik 341"/>
          <p:cNvPicPr>
            <a:picLocks noChangeAspect="1"/>
          </p:cNvPicPr>
          <p:nvPr userDrawn="1"/>
        </p:nvPicPr>
        <p:blipFill rotWithShape="1">
          <a:blip r:embed="rId22" cstate="print">
            <a:extLst>
              <a:ext uri="{28A0092B-C50C-407E-A947-70E740481C1C}">
                <a14:useLocalDpi xmlns:a14="http://schemas.microsoft.com/office/drawing/2010/main" val="0"/>
              </a:ext>
            </a:extLst>
          </a:blip>
          <a:srcRect t="18454" r="22519"/>
          <a:stretch/>
        </p:blipFill>
        <p:spPr>
          <a:xfrm>
            <a:off x="5429264" y="4453954"/>
            <a:ext cx="474057" cy="163179"/>
          </a:xfrm>
          <a:prstGeom prst="rect">
            <a:avLst/>
          </a:prstGeom>
        </p:spPr>
      </p:pic>
      <p:cxnSp>
        <p:nvCxnSpPr>
          <p:cNvPr id="1057" name="Gerade Verbindung 342"/>
          <p:cNvCxnSpPr/>
          <p:nvPr userDrawn="1"/>
        </p:nvCxnSpPr>
        <p:spPr>
          <a:xfrm flipH="1">
            <a:off x="5492075" y="3846126"/>
            <a:ext cx="1" cy="58813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58" name="Gerade Verbindung 343"/>
          <p:cNvCxnSpPr/>
          <p:nvPr userDrawn="1"/>
        </p:nvCxnSpPr>
        <p:spPr>
          <a:xfrm>
            <a:off x="5037284" y="3847013"/>
            <a:ext cx="454364" cy="9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59" name="Oval 1642"/>
          <p:cNvSpPr>
            <a:spLocks noChangeArrowheads="1"/>
          </p:cNvSpPr>
          <p:nvPr userDrawn="1"/>
        </p:nvSpPr>
        <p:spPr bwMode="auto">
          <a:xfrm>
            <a:off x="5004048" y="382504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1060" name="AutoShape 23">
            <a:hlinkClick r:id="rId5" tooltip="Sumitomo Electric Bordnetze GmbH - Zentrale - Google Maps"/>
          </p:cNvPr>
          <p:cNvSpPr>
            <a:spLocks noChangeArrowheads="1"/>
          </p:cNvSpPr>
          <p:nvPr userDrawn="1"/>
        </p:nvSpPr>
        <p:spPr bwMode="auto">
          <a:xfrm>
            <a:off x="460765" y="764705"/>
            <a:ext cx="7643926" cy="720079"/>
          </a:xfrm>
          <a:prstGeom prst="roundRect">
            <a:avLst>
              <a:gd name="adj" fmla="val 0"/>
            </a:avLst>
          </a:prstGeom>
          <a:solidFill>
            <a:schemeClr val="bg1"/>
          </a:solidFill>
          <a:ln w="9525">
            <a:solidFill>
              <a:schemeClr val="bg1"/>
            </a:solidFill>
            <a:round/>
            <a:headEnd/>
            <a:tailEnd/>
          </a:ln>
          <a:effectLst/>
        </p:spPr>
        <p:txBody>
          <a:bodyPr wrap="none" lIns="0" rIns="0"/>
          <a:lstStyle/>
          <a:p>
            <a:pPr>
              <a:lnSpc>
                <a:spcPts val="1100"/>
              </a:lnSpc>
              <a:tabLst>
                <a:tab pos="266700" algn="l"/>
                <a:tab pos="1612900" algn="l"/>
              </a:tabLst>
            </a:pPr>
            <a:r>
              <a:rPr lang="en-US" sz="800" dirty="0" err="1" smtClean="0">
                <a:solidFill>
                  <a:schemeClr val="accent6"/>
                </a:solidFill>
              </a:rPr>
              <a:t>Brandgehaege</a:t>
            </a:r>
            <a:r>
              <a:rPr lang="en-US" sz="800" dirty="0" smtClean="0">
                <a:solidFill>
                  <a:schemeClr val="accent6"/>
                </a:solidFill>
              </a:rPr>
              <a:t> 11, 38444 Wolfsburg  -  </a:t>
            </a:r>
            <a:r>
              <a:rPr lang="en-US" sz="800" dirty="0" smtClean="0">
                <a:solidFill>
                  <a:schemeClr val="accent6"/>
                </a:solidFill>
                <a:hlinkClick r:id="rId6"/>
              </a:rPr>
              <a:t>www.sebn.com</a:t>
            </a:r>
            <a:r>
              <a:rPr lang="en-US" sz="800" dirty="0" smtClean="0">
                <a:solidFill>
                  <a:schemeClr val="accent6"/>
                </a:solidFill>
              </a:rPr>
              <a:t> -  </a:t>
            </a:r>
            <a:r>
              <a:rPr lang="en-US" sz="800" dirty="0" smtClean="0">
                <a:solidFill>
                  <a:schemeClr val="accent6"/>
                </a:solidFill>
                <a:hlinkClick r:id="rId7"/>
              </a:rPr>
              <a:t>info@sebn.com</a:t>
            </a:r>
            <a:r>
              <a:rPr lang="en-US" sz="800" dirty="0" smtClean="0">
                <a:solidFill>
                  <a:schemeClr val="accent6"/>
                </a:solidFill>
              </a:rPr>
              <a:t> </a:t>
            </a:r>
          </a:p>
          <a:p>
            <a:pPr>
              <a:lnSpc>
                <a:spcPts val="1100"/>
              </a:lnSpc>
              <a:tabLst>
                <a:tab pos="266700" algn="l"/>
                <a:tab pos="1612900" algn="l"/>
              </a:tabLst>
            </a:pPr>
            <a:r>
              <a:rPr lang="en-US" sz="800" b="1" dirty="0" smtClean="0">
                <a:solidFill>
                  <a:srgbClr val="004E9E"/>
                </a:solidFill>
                <a:sym typeface="Wingdings" pitchFamily="2" charset="2"/>
              </a:rPr>
              <a:t>Directorate: </a:t>
            </a:r>
            <a:r>
              <a:rPr lang="en-US" sz="800" dirty="0" err="1" smtClean="0">
                <a:solidFill>
                  <a:schemeClr val="accent6"/>
                </a:solidFill>
                <a:sym typeface="Wingdings" pitchFamily="2" charset="2"/>
              </a:rPr>
              <a:t>Yasumasa</a:t>
            </a:r>
            <a:r>
              <a:rPr lang="en-US" sz="800" dirty="0" smtClean="0">
                <a:solidFill>
                  <a:schemeClr val="accent6"/>
                </a:solidFill>
                <a:sym typeface="Wingdings" pitchFamily="2" charset="2"/>
              </a:rPr>
              <a:t> Ono (CEO), Minoru </a:t>
            </a:r>
            <a:r>
              <a:rPr lang="en-US" sz="800" dirty="0" err="1" smtClean="0">
                <a:solidFill>
                  <a:schemeClr val="accent6"/>
                </a:solidFill>
                <a:sym typeface="Wingdings" pitchFamily="2" charset="2"/>
              </a:rPr>
              <a:t>Fujitsuka</a:t>
            </a:r>
            <a:r>
              <a:rPr lang="en-US" sz="800" dirty="0" smtClean="0">
                <a:solidFill>
                  <a:schemeClr val="accent6"/>
                </a:solidFill>
                <a:sym typeface="Wingdings" pitchFamily="2" charset="2"/>
              </a:rPr>
              <a:t>, Oliver Schacht, René </a:t>
            </a:r>
            <a:r>
              <a:rPr lang="en-US" sz="800" dirty="0" err="1" smtClean="0">
                <a:solidFill>
                  <a:schemeClr val="accent6"/>
                </a:solidFill>
                <a:sym typeface="Wingdings" pitchFamily="2" charset="2"/>
              </a:rPr>
              <a:t>Zboralski</a:t>
            </a:r>
            <a:endParaRPr lang="en-US" sz="800" dirty="0" smtClean="0">
              <a:solidFill>
                <a:schemeClr val="accent6"/>
              </a:solidFill>
              <a:sym typeface="Wingdings" pitchFamily="2" charset="2"/>
            </a:endParaRPr>
          </a:p>
          <a:p>
            <a:pPr>
              <a:lnSpc>
                <a:spcPts val="1100"/>
              </a:lnSpc>
              <a:tabLst>
                <a:tab pos="266700" algn="l"/>
                <a:tab pos="1612900" algn="l"/>
              </a:tabLst>
            </a:pPr>
            <a:endParaRPr lang="en-US" sz="800" dirty="0" smtClean="0">
              <a:solidFill>
                <a:srgbClr val="004E9E"/>
              </a:solidFill>
              <a:sym typeface="Wingdings" pitchFamily="2" charset="2"/>
            </a:endParaRPr>
          </a:p>
          <a:p>
            <a:pPr>
              <a:lnSpc>
                <a:spcPts val="1100"/>
              </a:lnSpc>
              <a:tabLst>
                <a:tab pos="266700" algn="l"/>
                <a:tab pos="1612900" algn="l"/>
              </a:tabLst>
            </a:pPr>
            <a:r>
              <a:rPr lang="en-US" sz="800" dirty="0" smtClean="0">
                <a:sym typeface="Wingdings" pitchFamily="2" charset="2"/>
              </a:rPr>
              <a:t></a:t>
            </a:r>
            <a:r>
              <a:rPr lang="en-US" sz="800" dirty="0" smtClean="0"/>
              <a:t> 	+49 (0)5308 / 400 400   	</a:t>
            </a:r>
            <a:r>
              <a:rPr lang="en-US" sz="800" dirty="0" smtClean="0">
                <a:sym typeface="Wingdings 2" pitchFamily="18" charset="2"/>
              </a:rPr>
              <a:t></a:t>
            </a:r>
            <a:r>
              <a:rPr lang="en-US" sz="800" dirty="0" smtClean="0"/>
              <a:t> 	+49 (0)5308 / 400 419</a:t>
            </a:r>
            <a:endParaRPr lang="en-US" sz="800" dirty="0"/>
          </a:p>
        </p:txBody>
      </p:sp>
    </p:spTree>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1_Titelfolie">
    <p:spTree>
      <p:nvGrpSpPr>
        <p:cNvPr id="1" name=""/>
        <p:cNvGrpSpPr/>
        <p:nvPr/>
      </p:nvGrpSpPr>
      <p:grpSpPr>
        <a:xfrm>
          <a:off x="0" y="0"/>
          <a:ext cx="0" cy="0"/>
          <a:chOff x="0" y="0"/>
          <a:chExt cx="0" cy="0"/>
        </a:xfrm>
      </p:grpSpPr>
      <p:sp>
        <p:nvSpPr>
          <p:cNvPr id="8" name="Rectangle 17"/>
          <p:cNvSpPr>
            <a:spLocks noGrp="1" noChangeArrowheads="1"/>
          </p:cNvSpPr>
          <p:nvPr>
            <p:ph type="ctrTitle" hasCustomPrompt="1"/>
          </p:nvPr>
        </p:nvSpPr>
        <p:spPr>
          <a:xfrm>
            <a:off x="251521" y="3356992"/>
            <a:ext cx="7920880" cy="575247"/>
          </a:xfrm>
          <a:prstGeom prst="rect">
            <a:avLst/>
          </a:prstGeom>
          <a:ln>
            <a:noFill/>
          </a:ln>
        </p:spPr>
        <p:txBody>
          <a:bodyPr anchor="b"/>
          <a:lstStyle>
            <a:lvl1pPr algn="l">
              <a:defRPr sz="2000" baseline="0">
                <a:solidFill>
                  <a:srgbClr val="004E9E"/>
                </a:solidFill>
              </a:defRPr>
            </a:lvl1pPr>
          </a:lstStyle>
          <a:p>
            <a:r>
              <a:rPr lang="en-US" dirty="0" smtClean="0"/>
              <a:t>Click to add text</a:t>
            </a:r>
            <a:endParaRPr lang="en-US" dirty="0"/>
          </a:p>
        </p:txBody>
      </p:sp>
      <p:sp>
        <p:nvSpPr>
          <p:cNvPr id="9" name="Rectangle 18"/>
          <p:cNvSpPr>
            <a:spLocks noGrp="1" noChangeArrowheads="1"/>
          </p:cNvSpPr>
          <p:nvPr>
            <p:ph type="subTitle" idx="1" hasCustomPrompt="1"/>
          </p:nvPr>
        </p:nvSpPr>
        <p:spPr>
          <a:xfrm>
            <a:off x="251520" y="3967164"/>
            <a:ext cx="7913553" cy="325933"/>
          </a:xfrm>
          <a:prstGeom prst="rect">
            <a:avLst/>
          </a:prstGeom>
        </p:spPr>
        <p:txBody>
          <a:bodyPr rIns="0"/>
          <a:lstStyle>
            <a:lvl1pPr marL="0" indent="0" algn="l">
              <a:defRPr sz="1800" b="0">
                <a:solidFill>
                  <a:srgbClr val="004E9E"/>
                </a:solidFill>
              </a:defRPr>
            </a:lvl1pPr>
          </a:lstStyle>
          <a:p>
            <a:r>
              <a:rPr lang="en-US" dirty="0" smtClean="0"/>
              <a:t>Click to add text</a:t>
            </a:r>
            <a:endParaRPr lang="en-US" dirty="0"/>
          </a:p>
        </p:txBody>
      </p:sp>
      <p:sp>
        <p:nvSpPr>
          <p:cNvPr id="10" name="Line 19"/>
          <p:cNvSpPr>
            <a:spLocks noChangeShapeType="1"/>
          </p:cNvSpPr>
          <p:nvPr/>
        </p:nvSpPr>
        <p:spPr bwMode="auto">
          <a:xfrm>
            <a:off x="264130" y="3932238"/>
            <a:ext cx="8172000" cy="0"/>
          </a:xfrm>
          <a:prstGeom prst="line">
            <a:avLst/>
          </a:prstGeom>
          <a:noFill/>
          <a:ln w="9525">
            <a:solidFill>
              <a:schemeClr val="accent6"/>
            </a:solidFill>
            <a:round/>
            <a:headEnd/>
            <a:tailEnd/>
          </a:ln>
          <a:effectLst/>
        </p:spPr>
        <p:txBody>
          <a:bodyPr/>
          <a:lstStyle/>
          <a:p>
            <a:pPr fontAlgn="base">
              <a:spcBef>
                <a:spcPct val="0"/>
              </a:spcBef>
              <a:spcAft>
                <a:spcPct val="0"/>
              </a:spcAft>
            </a:pPr>
            <a:endParaRPr lang="de-DE">
              <a:solidFill>
                <a:srgbClr val="004E9E"/>
              </a:solidFill>
            </a:endParaRPr>
          </a:p>
        </p:txBody>
      </p:sp>
      <p:sp>
        <p:nvSpPr>
          <p:cNvPr id="12" name="Textplatzhalter 10"/>
          <p:cNvSpPr>
            <a:spLocks noGrp="1"/>
          </p:cNvSpPr>
          <p:nvPr>
            <p:ph type="body" sz="quarter" idx="10" hasCustomPrompt="1"/>
          </p:nvPr>
        </p:nvSpPr>
        <p:spPr>
          <a:xfrm>
            <a:off x="251520" y="4580239"/>
            <a:ext cx="2880518" cy="288925"/>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5pPr marL="0" indent="0" algn="l" rtl="0" eaLnBrk="1" fontAlgn="base" hangingPunct="1">
              <a:spcBef>
                <a:spcPct val="20000"/>
              </a:spcBef>
              <a:spcAft>
                <a:spcPct val="0"/>
              </a:spcAft>
              <a:buNone/>
              <a:defRPr lang="en-US" sz="1800" b="0" dirty="0" smtClean="0">
                <a:solidFill>
                  <a:srgbClr val="004E9E"/>
                </a:solidFill>
                <a:latin typeface="+mn-lt"/>
                <a:ea typeface="+mn-ea"/>
                <a:cs typeface="+mn-cs"/>
              </a:defRPr>
            </a:lvl5pPr>
          </a:lstStyle>
          <a:p>
            <a:pPr lvl="4"/>
            <a:r>
              <a:rPr lang="en-US" dirty="0" smtClean="0"/>
              <a:t>Venue, Date</a:t>
            </a:r>
            <a:endParaRPr lang="en-US" dirty="0"/>
          </a:p>
        </p:txBody>
      </p:sp>
      <p:sp>
        <p:nvSpPr>
          <p:cNvPr id="15" name="Line 11"/>
          <p:cNvSpPr>
            <a:spLocks noChangeShapeType="1"/>
          </p:cNvSpPr>
          <p:nvPr>
            <p:custDataLst>
              <p:tags r:id="rId1"/>
            </p:custDataLst>
          </p:nvPr>
        </p:nvSpPr>
        <p:spPr bwMode="auto">
          <a:xfrm>
            <a:off x="-1664" y="692696"/>
            <a:ext cx="9144000" cy="0"/>
          </a:xfrm>
          <a:prstGeom prst="line">
            <a:avLst/>
          </a:prstGeom>
          <a:noFill/>
          <a:ln w="76200">
            <a:solidFill>
              <a:schemeClr val="tx1"/>
            </a:solidFill>
            <a:round/>
            <a:headEnd/>
            <a:tailEnd/>
          </a:ln>
          <a:effectLst/>
        </p:spPr>
        <p:txBody>
          <a:bodyPr/>
          <a:lstStyle/>
          <a:p>
            <a:pPr fontAlgn="base">
              <a:spcBef>
                <a:spcPct val="0"/>
              </a:spcBef>
              <a:spcAft>
                <a:spcPct val="0"/>
              </a:spcAft>
            </a:pPr>
            <a:endParaRPr lang="de-DE">
              <a:solidFill>
                <a:srgbClr val="000000"/>
              </a:solidFill>
            </a:endParaRPr>
          </a:p>
        </p:txBody>
      </p:sp>
      <p:sp>
        <p:nvSpPr>
          <p:cNvPr id="13" name="Textfeld 7"/>
          <p:cNvSpPr txBox="1">
            <a:spLocks noChangeArrowheads="1"/>
          </p:cNvSpPr>
          <p:nvPr/>
        </p:nvSpPr>
        <p:spPr bwMode="auto">
          <a:xfrm>
            <a:off x="6603306" y="5229200"/>
            <a:ext cx="2008620" cy="707886"/>
          </a:xfrm>
          <a:prstGeom prst="rect">
            <a:avLst/>
          </a:prstGeom>
          <a:solidFill>
            <a:schemeClr val="bg1"/>
          </a:solidFill>
          <a:ln w="9525">
            <a:noFill/>
            <a:miter lim="800000"/>
            <a:headEnd/>
            <a:tailEnd/>
          </a:ln>
        </p:spPr>
        <p:txBody>
          <a:bodyPr wrap="square">
            <a:spAutoFit/>
          </a:bodyPr>
          <a:lstStyle/>
          <a:p>
            <a:pPr algn="ctr"/>
            <a:r>
              <a:rPr lang="en-GB" sz="2000" b="1" dirty="0" smtClean="0">
                <a:solidFill>
                  <a:srgbClr val="C00000"/>
                </a:solidFill>
              </a:rPr>
              <a:t>CONFIDENTIAL</a:t>
            </a:r>
            <a:endParaRPr lang="en-GB" sz="2000" b="1" dirty="0">
              <a:solidFill>
                <a:srgbClr val="C00000"/>
              </a:solidFill>
            </a:endParaRPr>
          </a:p>
        </p:txBody>
      </p:sp>
      <p:sp>
        <p:nvSpPr>
          <p:cNvPr id="14" name="Rechteck 13"/>
          <p:cNvSpPr/>
          <p:nvPr/>
        </p:nvSpPr>
        <p:spPr>
          <a:xfrm>
            <a:off x="6233723" y="4869160"/>
            <a:ext cx="2326412" cy="1440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fik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0220" y="0"/>
            <a:ext cx="1926251" cy="630000"/>
          </a:xfrm>
          <a:prstGeom prst="rect">
            <a:avLst/>
          </a:prstGeom>
        </p:spPr>
      </p:pic>
      <p:pic>
        <p:nvPicPr>
          <p:cNvPr id="34818" name="Picture 2" descr="P:\Corporate_Communications\Corporate Design Policy\Logos\Logo SEBN Group\Logo_Sumitomo_Electric_Bordnetze_Group_1 Zeile_ohne_Igeta.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42028" y="6309321"/>
            <a:ext cx="2525819" cy="172611"/>
          </a:xfrm>
          <a:prstGeom prst="rect">
            <a:avLst/>
          </a:prstGeom>
          <a:noFill/>
          <a:extLst>
            <a:ext uri="{909E8E84-426E-40DD-AFC4-6F175D3DCCD1}">
              <a14:hiddenFill xmlns:a14="http://schemas.microsoft.com/office/drawing/2010/main">
                <a:solidFill>
                  <a:srgbClr val="FFFFFF"/>
                </a:solidFill>
              </a14:hiddenFill>
            </a:ext>
          </a:extLst>
        </p:spPr>
      </p:pic>
      <p:sp>
        <p:nvSpPr>
          <p:cNvPr id="11" name="Line 19"/>
          <p:cNvSpPr>
            <a:spLocks noChangeShapeType="1"/>
          </p:cNvSpPr>
          <p:nvPr userDrawn="1"/>
        </p:nvSpPr>
        <p:spPr bwMode="auto">
          <a:xfrm>
            <a:off x="264130" y="3932238"/>
            <a:ext cx="8172000" cy="0"/>
          </a:xfrm>
          <a:prstGeom prst="line">
            <a:avLst/>
          </a:prstGeom>
          <a:noFill/>
          <a:ln w="9525">
            <a:solidFill>
              <a:schemeClr val="accent6"/>
            </a:solidFill>
            <a:round/>
            <a:headEnd/>
            <a:tailEnd/>
          </a:ln>
          <a:effectLst/>
        </p:spPr>
        <p:txBody>
          <a:bodyPr/>
          <a:lstStyle/>
          <a:p>
            <a:pPr fontAlgn="base">
              <a:spcBef>
                <a:spcPct val="0"/>
              </a:spcBef>
              <a:spcAft>
                <a:spcPct val="0"/>
              </a:spcAft>
            </a:pPr>
            <a:endParaRPr lang="de-DE">
              <a:solidFill>
                <a:srgbClr val="004E9E"/>
              </a:solidFill>
            </a:endParaRPr>
          </a:p>
        </p:txBody>
      </p:sp>
      <p:sp>
        <p:nvSpPr>
          <p:cNvPr id="16" name="Line 11"/>
          <p:cNvSpPr>
            <a:spLocks noChangeShapeType="1"/>
          </p:cNvSpPr>
          <p:nvPr userDrawn="1">
            <p:custDataLst>
              <p:tags r:id="rId2"/>
            </p:custDataLst>
          </p:nvPr>
        </p:nvSpPr>
        <p:spPr bwMode="auto">
          <a:xfrm>
            <a:off x="-1664" y="692696"/>
            <a:ext cx="9144000" cy="0"/>
          </a:xfrm>
          <a:prstGeom prst="line">
            <a:avLst/>
          </a:prstGeom>
          <a:noFill/>
          <a:ln w="76200">
            <a:solidFill>
              <a:schemeClr val="tx1"/>
            </a:solidFill>
            <a:round/>
            <a:headEnd/>
            <a:tailEnd/>
          </a:ln>
          <a:effectLst/>
        </p:spPr>
        <p:txBody>
          <a:bodyPr/>
          <a:lstStyle/>
          <a:p>
            <a:pPr fontAlgn="base">
              <a:spcBef>
                <a:spcPct val="0"/>
              </a:spcBef>
              <a:spcAft>
                <a:spcPct val="0"/>
              </a:spcAft>
            </a:pPr>
            <a:endParaRPr lang="de-DE">
              <a:solidFill>
                <a:srgbClr val="000000"/>
              </a:solidFill>
            </a:endParaRPr>
          </a:p>
        </p:txBody>
      </p:sp>
      <p:sp>
        <p:nvSpPr>
          <p:cNvPr id="17" name="Textfeld 7"/>
          <p:cNvSpPr txBox="1">
            <a:spLocks noChangeArrowheads="1"/>
          </p:cNvSpPr>
          <p:nvPr userDrawn="1"/>
        </p:nvSpPr>
        <p:spPr bwMode="auto">
          <a:xfrm>
            <a:off x="6603306" y="5229200"/>
            <a:ext cx="2008620" cy="400110"/>
          </a:xfrm>
          <a:prstGeom prst="rect">
            <a:avLst/>
          </a:prstGeom>
          <a:solidFill>
            <a:schemeClr val="bg1"/>
          </a:solidFill>
          <a:ln w="9525">
            <a:noFill/>
            <a:miter lim="800000"/>
            <a:headEnd/>
            <a:tailEnd/>
          </a:ln>
        </p:spPr>
        <p:txBody>
          <a:bodyPr wrap="square">
            <a:spAutoFit/>
          </a:bodyPr>
          <a:lstStyle/>
          <a:p>
            <a:pPr algn="ctr"/>
            <a:r>
              <a:rPr lang="en-GB" sz="2000" b="1" dirty="0" smtClean="0">
                <a:solidFill>
                  <a:srgbClr val="C00000"/>
                </a:solidFill>
              </a:rPr>
              <a:t>CONFIDENTIAL</a:t>
            </a:r>
            <a:endParaRPr lang="en-GB" sz="2000" b="1" dirty="0">
              <a:solidFill>
                <a:srgbClr val="C00000"/>
              </a:solidFill>
            </a:endParaRPr>
          </a:p>
        </p:txBody>
      </p:sp>
      <p:sp>
        <p:nvSpPr>
          <p:cNvPr id="18" name="Rechteck 13"/>
          <p:cNvSpPr/>
          <p:nvPr userDrawn="1"/>
        </p:nvSpPr>
        <p:spPr>
          <a:xfrm>
            <a:off x="6233723" y="4869160"/>
            <a:ext cx="2326412" cy="1440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2" descr="P:\Corporate_Communications\Corporate Design Policy\Logos\Logo SEBN Group\Logo_Sumitomo_Electric_Bordnetze_Group_1 Zeile_ohne_Igeta.jp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442708" y="6310801"/>
            <a:ext cx="2525819" cy="172611"/>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0220" y="0"/>
            <a:ext cx="1926251" cy="630000"/>
          </a:xfrm>
          <a:prstGeom prst="rect">
            <a:avLst/>
          </a:prstGeom>
        </p:spPr>
      </p:pic>
    </p:spTree>
    <p:extLst>
      <p:ext uri="{BB962C8B-B14F-4D97-AF65-F5344CB8AC3E}">
        <p14:creationId xmlns:p14="http://schemas.microsoft.com/office/powerpoint/2010/main" val="282953297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General Inpu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a:defRPr/>
            </a:lvl1pPr>
            <a:lvl2pPr>
              <a:buClr>
                <a:srgbClr val="08398A"/>
              </a:buClr>
              <a:buFont typeface="Arial" pitchFamily="34" charset="0"/>
              <a:buChar char="■"/>
              <a:defRPr/>
            </a:lvl2pPr>
            <a:lvl3pPr>
              <a:buClr>
                <a:srgbClr val="08398A"/>
              </a:buClr>
              <a:buFont typeface="Arial" pitchFamily="34" charset="0"/>
              <a:buChar char="■"/>
              <a:defRPr/>
            </a:lvl3pPr>
            <a:lvl4pPr>
              <a:buClr>
                <a:srgbClr val="08398A"/>
              </a:buClr>
              <a:buFont typeface="Arial" pitchFamily="34" charset="0"/>
              <a:buChar char="■"/>
              <a:defRPr sz="1400"/>
            </a:lvl4pPr>
            <a:lvl5pPr>
              <a:buClr>
                <a:srgbClr val="08398A"/>
              </a:buClr>
              <a:buFont typeface="Arial" pitchFamily="34" charset="0"/>
              <a:buChar char="■"/>
              <a:defRPr sz="1400"/>
            </a:lvl5pPr>
          </a:lstStyle>
          <a:p>
            <a:pPr lvl="0"/>
            <a:r>
              <a:rPr lang="en-US" noProof="0" smtClean="0"/>
              <a:t>Click to add text</a:t>
            </a:r>
          </a:p>
          <a:p>
            <a:pPr lvl="1"/>
            <a:r>
              <a:rPr lang="en-US" noProof="0" smtClean="0"/>
              <a:t>Level 2</a:t>
            </a:r>
          </a:p>
          <a:p>
            <a:pPr lvl="2"/>
            <a:r>
              <a:rPr lang="en-US" noProof="0" smtClean="0"/>
              <a:t>Level 3</a:t>
            </a:r>
          </a:p>
          <a:p>
            <a:pPr lvl="3"/>
            <a:r>
              <a:rPr lang="en-US" noProof="0" smtClean="0"/>
              <a:t>Level 4</a:t>
            </a:r>
          </a:p>
          <a:p>
            <a:pPr lvl="4"/>
            <a:r>
              <a:rPr lang="en-US" noProof="0" smtClean="0"/>
              <a:t>Level 5</a:t>
            </a:r>
            <a:endParaRPr lang="en-US" noProof="0"/>
          </a:p>
        </p:txBody>
      </p:sp>
      <p:sp>
        <p:nvSpPr>
          <p:cNvPr id="9" name="Textplatzhalter 8"/>
          <p:cNvSpPr>
            <a:spLocks noGrp="1"/>
          </p:cNvSpPr>
          <p:nvPr>
            <p:ph type="body" sz="quarter" idx="10" hasCustomPrompt="1"/>
          </p:nvPr>
        </p:nvSpPr>
        <p:spPr>
          <a:xfrm>
            <a:off x="468312" y="1430710"/>
            <a:ext cx="8424168" cy="288503"/>
          </a:xfrm>
        </p:spPr>
        <p:txBody>
          <a:bodyPr/>
          <a:lstStyle>
            <a:lvl1pPr>
              <a:defRPr sz="1600" b="0" baseline="0"/>
            </a:lvl1pPr>
          </a:lstStyle>
          <a:p>
            <a:pPr lvl="0"/>
            <a:r>
              <a:rPr lang="en-US" noProof="0" smtClean="0"/>
              <a:t>Click to add subtitle</a:t>
            </a:r>
            <a:endParaRPr lang="en-US" noProof="0"/>
          </a:p>
        </p:txBody>
      </p:sp>
      <p:sp>
        <p:nvSpPr>
          <p:cNvPr id="17" name="Rectangle 3"/>
          <p:cNvSpPr>
            <a:spLocks noGrp="1" noChangeArrowheads="1"/>
          </p:cNvSpPr>
          <p:nvPr>
            <p:ph type="title" hasCustomPrompt="1"/>
          </p:nvPr>
        </p:nvSpPr>
        <p:spPr bwMode="auto">
          <a:xfrm>
            <a:off x="457681" y="889932"/>
            <a:ext cx="8434800" cy="46831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a:lvl1p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
        <p:nvSpPr>
          <p:cNvPr id="11" name="Textplatzhalter 8"/>
          <p:cNvSpPr>
            <a:spLocks noGrp="1"/>
          </p:cNvSpPr>
          <p:nvPr>
            <p:ph type="body" sz="quarter" idx="20" hasCustomPrompt="1"/>
          </p:nvPr>
        </p:nvSpPr>
        <p:spPr>
          <a:xfrm>
            <a:off x="450927" y="6237313"/>
            <a:ext cx="3057570" cy="504057"/>
          </a:xfrm>
        </p:spPr>
        <p:txBody>
          <a:bodyPr/>
          <a:lstStyle>
            <a:lvl1pPr marL="342900" marR="0" indent="-342900" algn="l" defTabSz="914400" rtl="0" eaLnBrk="1" fontAlgn="base" latinLnBrk="0" hangingPunct="1">
              <a:lnSpc>
                <a:spcPct val="100000"/>
              </a:lnSpc>
              <a:spcBef>
                <a:spcPct val="20000"/>
              </a:spcBef>
              <a:spcAft>
                <a:spcPct val="0"/>
              </a:spcAft>
              <a:buClrTx/>
              <a:buSzTx/>
              <a:buFontTx/>
              <a:buNone/>
              <a:tabLst/>
              <a:defRPr sz="800" b="0">
                <a:solidFill>
                  <a:schemeClr val="accent6"/>
                </a:solidFill>
              </a:defRPr>
            </a:lvl1pPr>
          </a:lstStyle>
          <a:p>
            <a:pPr marL="342900" marR="0" lvl="0" indent="-342900" algn="l" defTabSz="914400" rtl="0" eaLnBrk="1" fontAlgn="base" latinLnBrk="0" hangingPunct="1">
              <a:lnSpc>
                <a:spcPct val="100000"/>
              </a:lnSpc>
              <a:spcBef>
                <a:spcPct val="20000"/>
              </a:spcBef>
              <a:spcAft>
                <a:spcPct val="0"/>
              </a:spcAft>
              <a:buClrTx/>
              <a:buSzTx/>
              <a:buFontTx/>
              <a:buNone/>
              <a:tabLst/>
              <a:defRPr/>
            </a:pPr>
            <a:r>
              <a:rPr lang="en-US" noProof="0" dirty="0" smtClean="0"/>
              <a:t>Click to add footnote</a:t>
            </a:r>
          </a:p>
          <a:p>
            <a:pPr lvl="0"/>
            <a:endParaRPr lang="en-US" noProof="0" dirty="0"/>
          </a:p>
        </p:txBody>
      </p:sp>
    </p:spTree>
    <p:extLst>
      <p:ext uri="{BB962C8B-B14F-4D97-AF65-F5344CB8AC3E}">
        <p14:creationId xmlns:p14="http://schemas.microsoft.com/office/powerpoint/2010/main" val="654541259"/>
      </p:ext>
    </p:extLst>
  </p:cSld>
  <p:clrMapOvr>
    <a:masterClrMapping/>
  </p:clrMapOvr>
  <p:transition/>
  <p:timing>
    <p:tnLst>
      <p:par>
        <p:cTn id="1" dur="indefinite" restart="never" nodeType="tmRoot"/>
      </p:par>
    </p:tnLst>
  </p:timing>
  <p:hf hdr="0" ftr="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General Inpu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a:defRPr/>
            </a:lvl1pPr>
            <a:lvl2pPr>
              <a:buClr>
                <a:srgbClr val="08398A"/>
              </a:buClr>
              <a:buFont typeface="Arial" pitchFamily="34" charset="0"/>
              <a:buChar char="■"/>
              <a:defRPr/>
            </a:lvl2pPr>
            <a:lvl3pPr>
              <a:buClr>
                <a:srgbClr val="08398A"/>
              </a:buClr>
              <a:buFont typeface="Arial" pitchFamily="34" charset="0"/>
              <a:buChar char="■"/>
              <a:defRPr/>
            </a:lvl3pPr>
            <a:lvl4pPr>
              <a:buClr>
                <a:srgbClr val="08398A"/>
              </a:buClr>
              <a:buFont typeface="Arial" pitchFamily="34" charset="0"/>
              <a:buChar char="■"/>
              <a:defRPr sz="1400"/>
            </a:lvl4pPr>
            <a:lvl5pPr>
              <a:buClr>
                <a:srgbClr val="08398A"/>
              </a:buClr>
              <a:buFont typeface="Arial" pitchFamily="34" charset="0"/>
              <a:buChar char="■"/>
              <a:defRPr sz="1400"/>
            </a:lvl5pPr>
          </a:lstStyle>
          <a:p>
            <a:pPr lvl="0"/>
            <a:r>
              <a:rPr lang="en-US" noProof="0" smtClean="0"/>
              <a:t>Click to add text</a:t>
            </a:r>
          </a:p>
          <a:p>
            <a:pPr lvl="1"/>
            <a:r>
              <a:rPr lang="en-US" noProof="0" smtClean="0"/>
              <a:t>Level 2</a:t>
            </a:r>
          </a:p>
          <a:p>
            <a:pPr lvl="2"/>
            <a:r>
              <a:rPr lang="en-US" noProof="0" smtClean="0"/>
              <a:t>Level 3</a:t>
            </a:r>
          </a:p>
          <a:p>
            <a:pPr lvl="3"/>
            <a:r>
              <a:rPr lang="en-US" noProof="0" smtClean="0"/>
              <a:t>Level 4</a:t>
            </a:r>
          </a:p>
          <a:p>
            <a:pPr lvl="4"/>
            <a:r>
              <a:rPr lang="en-US" noProof="0" smtClean="0"/>
              <a:t>Level 5</a:t>
            </a:r>
            <a:endParaRPr lang="en-US" noProof="0"/>
          </a:p>
        </p:txBody>
      </p:sp>
      <p:sp>
        <p:nvSpPr>
          <p:cNvPr id="9" name="Textplatzhalter 8"/>
          <p:cNvSpPr>
            <a:spLocks noGrp="1"/>
          </p:cNvSpPr>
          <p:nvPr>
            <p:ph type="body" sz="quarter" idx="10" hasCustomPrompt="1"/>
          </p:nvPr>
        </p:nvSpPr>
        <p:spPr>
          <a:xfrm>
            <a:off x="468312" y="1430710"/>
            <a:ext cx="8424168" cy="288503"/>
          </a:xfrm>
        </p:spPr>
        <p:txBody>
          <a:bodyPr/>
          <a:lstStyle>
            <a:lvl1pPr>
              <a:defRPr sz="1600" b="0" baseline="0"/>
            </a:lvl1pPr>
          </a:lstStyle>
          <a:p>
            <a:pPr lvl="0"/>
            <a:r>
              <a:rPr lang="en-US" noProof="0" smtClean="0"/>
              <a:t>Click to add subtitle</a:t>
            </a:r>
            <a:endParaRPr lang="en-US" noProof="0"/>
          </a:p>
        </p:txBody>
      </p:sp>
      <p:sp>
        <p:nvSpPr>
          <p:cNvPr id="17" name="Rectangle 3"/>
          <p:cNvSpPr>
            <a:spLocks noGrp="1" noChangeArrowheads="1"/>
          </p:cNvSpPr>
          <p:nvPr>
            <p:ph type="title" hasCustomPrompt="1"/>
          </p:nvPr>
        </p:nvSpPr>
        <p:spPr bwMode="auto">
          <a:xfrm>
            <a:off x="457681" y="889932"/>
            <a:ext cx="8434800" cy="46831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a:lvl1p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
        <p:nvSpPr>
          <p:cNvPr id="11" name="Textplatzhalter 8"/>
          <p:cNvSpPr>
            <a:spLocks noGrp="1"/>
          </p:cNvSpPr>
          <p:nvPr>
            <p:ph type="body" sz="quarter" idx="20" hasCustomPrompt="1"/>
          </p:nvPr>
        </p:nvSpPr>
        <p:spPr>
          <a:xfrm>
            <a:off x="450927" y="6237313"/>
            <a:ext cx="3057570" cy="504057"/>
          </a:xfrm>
        </p:spPr>
        <p:txBody>
          <a:bodyPr/>
          <a:lstStyle>
            <a:lvl1pPr marL="342900" marR="0" indent="-342900" algn="l" defTabSz="914400" rtl="0" eaLnBrk="1" fontAlgn="base" latinLnBrk="0" hangingPunct="1">
              <a:lnSpc>
                <a:spcPct val="100000"/>
              </a:lnSpc>
              <a:spcBef>
                <a:spcPct val="20000"/>
              </a:spcBef>
              <a:spcAft>
                <a:spcPct val="0"/>
              </a:spcAft>
              <a:buClrTx/>
              <a:buSzTx/>
              <a:buFontTx/>
              <a:buNone/>
              <a:tabLst/>
              <a:defRPr sz="800" b="0">
                <a:solidFill>
                  <a:schemeClr val="accent6"/>
                </a:solidFill>
              </a:defRPr>
            </a:lvl1pPr>
          </a:lstStyle>
          <a:p>
            <a:pPr marL="342900" marR="0" lvl="0" indent="-342900" algn="l" defTabSz="914400" rtl="0" eaLnBrk="1" fontAlgn="base" latinLnBrk="0" hangingPunct="1">
              <a:lnSpc>
                <a:spcPct val="100000"/>
              </a:lnSpc>
              <a:spcBef>
                <a:spcPct val="20000"/>
              </a:spcBef>
              <a:spcAft>
                <a:spcPct val="0"/>
              </a:spcAft>
              <a:buClrTx/>
              <a:buSzTx/>
              <a:buFontTx/>
              <a:buNone/>
              <a:tabLst/>
              <a:defRPr/>
            </a:pPr>
            <a:r>
              <a:rPr lang="en-US" noProof="0" dirty="0" smtClean="0"/>
              <a:t>Click to add footnote</a:t>
            </a:r>
          </a:p>
          <a:p>
            <a:pPr lvl="0"/>
            <a:endParaRPr lang="en-US" noProof="0" dirty="0"/>
          </a:p>
        </p:txBody>
      </p:sp>
    </p:spTree>
    <p:extLst>
      <p:ext uri="{BB962C8B-B14F-4D97-AF65-F5344CB8AC3E}">
        <p14:creationId xmlns:p14="http://schemas.microsoft.com/office/powerpoint/2010/main" val="654541259"/>
      </p:ext>
    </p:extLst>
  </p:cSld>
  <p:clrMapOvr>
    <a:masterClrMapping/>
  </p:clrMapOvr>
  <p:transition/>
  <p:timing>
    <p:tnLst>
      <p:par>
        <p:cTn id="1" dur="indefinite" restart="never" nodeType="tmRoot"/>
      </p:par>
    </p:tnLst>
  </p:timing>
  <p:hf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2" name="Objekt 21" hidden="1"/>
          <p:cNvGraphicFramePr>
            <a:graphicFrameLocks noChangeAspect="1"/>
          </p:cNvGraphicFramePr>
          <p:nvPr>
            <p:custDataLst>
              <p:tags r:id="rId16"/>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60"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7763" name="Rectangle 3"/>
          <p:cNvSpPr>
            <a:spLocks noGrp="1" noChangeArrowheads="1"/>
          </p:cNvSpPr>
          <p:nvPr>
            <p:ph type="title"/>
            <p:custDataLst>
              <p:tags r:id="rId17"/>
            </p:custDataLst>
          </p:nvPr>
        </p:nvSpPr>
        <p:spPr bwMode="auto">
          <a:xfrm>
            <a:off x="457681" y="889932"/>
            <a:ext cx="8434800" cy="468312"/>
          </a:xfrm>
          <a:prstGeom prst="rect">
            <a:avLst/>
          </a:prstGeom>
          <a:ln>
            <a:noFill/>
          </a:ln>
        </p:spPr>
        <p:txBody>
          <a:bodyPr vert="horz" lIns="0" tIns="0" rIns="0" bIns="0" rtlCol="0" anchor="b" anchorCtr="0">
            <a:noAutofit/>
          </a:body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
        <p:nvSpPr>
          <p:cNvPr id="117765" name="Rectangle 5"/>
          <p:cNvSpPr>
            <a:spLocks noGrp="1" noChangeArrowheads="1"/>
          </p:cNvSpPr>
          <p:nvPr>
            <p:ph type="body" idx="1"/>
            <p:custDataLst>
              <p:tags r:id="rId18"/>
            </p:custDataLst>
          </p:nvPr>
        </p:nvSpPr>
        <p:spPr bwMode="auto">
          <a:xfrm>
            <a:off x="457680" y="1978496"/>
            <a:ext cx="8434800" cy="4114800"/>
          </a:xfrm>
          <a:prstGeom prst="rect">
            <a:avLst/>
          </a:prstGeom>
          <a:noFill/>
          <a:ln w="9525">
            <a:noFill/>
            <a:miter lim="800000"/>
            <a:headEnd/>
            <a:tailEnd/>
          </a:ln>
          <a:effectLst/>
        </p:spPr>
        <p:txBody>
          <a:bodyPr vert="horz" wrap="square" lIns="0" tIns="45720" rIns="91440" bIns="45720" numCol="1" anchor="t" anchorCtr="0" compatLnSpc="1">
            <a:prstTxWarp prst="textNoShape">
              <a:avLst/>
            </a:prstTxWarp>
          </a:bodyPr>
          <a:lstStyle/>
          <a:p>
            <a:pPr lvl="0"/>
            <a:r>
              <a:rPr lang="en-US" noProof="0" dirty="0" smtClean="0"/>
              <a:t>Click to add text</a:t>
            </a:r>
          </a:p>
          <a:p>
            <a:pPr lvl="1"/>
            <a:r>
              <a:rPr lang="en-US" noProof="0" dirty="0" smtClean="0"/>
              <a:t>Level 2</a:t>
            </a:r>
          </a:p>
          <a:p>
            <a:pPr lvl="2"/>
            <a:r>
              <a:rPr lang="en-US" noProof="0" dirty="0" smtClean="0"/>
              <a:t>Level 3</a:t>
            </a:r>
          </a:p>
        </p:txBody>
      </p:sp>
      <p:sp>
        <p:nvSpPr>
          <p:cNvPr id="15" name="Line 11"/>
          <p:cNvSpPr>
            <a:spLocks noChangeShapeType="1"/>
          </p:cNvSpPr>
          <p:nvPr>
            <p:custDataLst>
              <p:tags r:id="rId19"/>
            </p:custDataLst>
          </p:nvPr>
        </p:nvSpPr>
        <p:spPr bwMode="auto">
          <a:xfrm>
            <a:off x="-1664" y="692696"/>
            <a:ext cx="9144000" cy="0"/>
          </a:xfrm>
          <a:prstGeom prst="line">
            <a:avLst/>
          </a:prstGeom>
          <a:noFill/>
          <a:ln w="76200">
            <a:solidFill>
              <a:schemeClr val="tx1"/>
            </a:solidFill>
            <a:round/>
            <a:headEnd/>
            <a:tailEnd/>
          </a:ln>
          <a:effectLst/>
        </p:spPr>
        <p:txBody>
          <a:bodyPr/>
          <a:lstStyle/>
          <a:p>
            <a:pPr fontAlgn="base">
              <a:spcBef>
                <a:spcPct val="0"/>
              </a:spcBef>
              <a:spcAft>
                <a:spcPct val="0"/>
              </a:spcAft>
            </a:pPr>
            <a:endParaRPr lang="en-US" noProof="0">
              <a:solidFill>
                <a:srgbClr val="000000"/>
              </a:solidFill>
            </a:endParaRPr>
          </a:p>
        </p:txBody>
      </p:sp>
      <p:sp>
        <p:nvSpPr>
          <p:cNvPr id="12" name="Textfeld 7"/>
          <p:cNvSpPr txBox="1">
            <a:spLocks noChangeArrowheads="1"/>
          </p:cNvSpPr>
          <p:nvPr>
            <p:custDataLst>
              <p:tags r:id="rId20"/>
            </p:custDataLst>
          </p:nvPr>
        </p:nvSpPr>
        <p:spPr bwMode="auto">
          <a:xfrm rot="16200000">
            <a:off x="8102564" y="1580204"/>
            <a:ext cx="1887973" cy="338554"/>
          </a:xfrm>
          <a:prstGeom prst="rect">
            <a:avLst/>
          </a:prstGeom>
          <a:noFill/>
          <a:ln w="9525">
            <a:noFill/>
            <a:miter lim="800000"/>
            <a:headEnd/>
            <a:tailEnd/>
          </a:ln>
        </p:spPr>
        <p:txBody>
          <a:bodyPr wrap="square">
            <a:spAutoFit/>
          </a:bodyPr>
          <a:lstStyle/>
          <a:p>
            <a:pPr algn="r"/>
            <a:r>
              <a:rPr lang="en-GB" sz="1600" b="1" dirty="0" smtClean="0">
                <a:solidFill>
                  <a:srgbClr val="C00000"/>
                </a:solidFill>
              </a:rPr>
              <a:t>CONFIDENTIAL</a:t>
            </a:r>
            <a:endParaRPr lang="en-GB" sz="1600" b="1" dirty="0">
              <a:solidFill>
                <a:srgbClr val="C00000"/>
              </a:solidFill>
            </a:endParaRPr>
          </a:p>
        </p:txBody>
      </p:sp>
      <p:sp>
        <p:nvSpPr>
          <p:cNvPr id="16" name="Rechteck 15"/>
          <p:cNvSpPr/>
          <p:nvPr>
            <p:custDataLst>
              <p:tags r:id="rId21"/>
            </p:custDataLst>
          </p:nvPr>
        </p:nvSpPr>
        <p:spPr>
          <a:xfrm>
            <a:off x="8958949" y="764704"/>
            <a:ext cx="185051" cy="2664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Line 11"/>
          <p:cNvSpPr>
            <a:spLocks noChangeShapeType="1"/>
          </p:cNvSpPr>
          <p:nvPr>
            <p:custDataLst>
              <p:tags r:id="rId22"/>
            </p:custDataLst>
          </p:nvPr>
        </p:nvSpPr>
        <p:spPr bwMode="auto">
          <a:xfrm>
            <a:off x="457680" y="6189663"/>
            <a:ext cx="8434800" cy="0"/>
          </a:xfrm>
          <a:prstGeom prst="line">
            <a:avLst/>
          </a:prstGeom>
          <a:noFill/>
          <a:ln w="9525">
            <a:solidFill>
              <a:schemeClr val="bg1">
                <a:lumMod val="75000"/>
              </a:schemeClr>
            </a:solidFill>
            <a:round/>
            <a:headEnd/>
            <a:tailEnd/>
          </a:ln>
          <a:effectLst/>
        </p:spPr>
        <p:txBody>
          <a:bodyPr/>
          <a:lstStyle/>
          <a:p>
            <a:pPr fontAlgn="base">
              <a:spcBef>
                <a:spcPct val="0"/>
              </a:spcBef>
              <a:spcAft>
                <a:spcPct val="0"/>
              </a:spcAft>
            </a:pPr>
            <a:endParaRPr lang="en-US" noProof="0">
              <a:solidFill>
                <a:srgbClr val="000000"/>
              </a:solidFill>
            </a:endParaRPr>
          </a:p>
        </p:txBody>
      </p:sp>
      <p:sp>
        <p:nvSpPr>
          <p:cNvPr id="24" name="Datumsplatzhalter 16"/>
          <p:cNvSpPr txBox="1">
            <a:spLocks/>
          </p:cNvSpPr>
          <p:nvPr>
            <p:custDataLst>
              <p:tags r:id="rId23"/>
            </p:custDataLst>
          </p:nvPr>
        </p:nvSpPr>
        <p:spPr>
          <a:xfrm>
            <a:off x="6566068" y="6309320"/>
            <a:ext cx="2326412" cy="360040"/>
          </a:xfrm>
          <a:prstGeom prst="rect">
            <a:avLst/>
          </a:prstGeom>
          <a:noFill/>
          <a:ln w="9525">
            <a:noFill/>
            <a:miter lim="800000"/>
            <a:headEnd/>
            <a:tailEnd/>
          </a:ln>
          <a:effectLst/>
        </p:spPr>
        <p:txBody>
          <a:bodyPr vert="horz" wrap="square" lIns="91440" tIns="36000" rIns="0" bIns="36000" numCol="1" anchor="ctr" anchorCtr="0" compatLnSpc="1">
            <a:prstTxWarp prst="textNoShape">
              <a:avLst/>
            </a:prstTxWarp>
          </a:bodyPr>
          <a:lstStyle>
            <a:defPPr>
              <a:defRPr lang="de-DE"/>
            </a:defPPr>
            <a:lvl1pPr marL="0" algn="ctr" defTabSz="914400" rtl="0" eaLnBrk="1" latinLnBrk="0" hangingPunct="1">
              <a:defRPr kumimoji="0" lang="en-US" sz="800" b="0" i="0" u="none" strike="noStrike" kern="1200" cap="none" spc="0" normalizeH="0" baseline="0" noProof="0" smtClean="0">
                <a:ln>
                  <a:noFill/>
                </a:ln>
                <a:solidFill>
                  <a:srgbClr val="000000"/>
                </a:solidFill>
                <a:effectLst/>
                <a:uLnTx/>
                <a:uFillTx/>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342900" algn="r" fontAlgn="base">
              <a:spcBef>
                <a:spcPct val="0"/>
              </a:spcBef>
              <a:spcAft>
                <a:spcPct val="0"/>
              </a:spcAft>
            </a:pPr>
            <a:r>
              <a:rPr lang="en-US" dirty="0" smtClean="0"/>
              <a:t>Page: </a:t>
            </a:r>
            <a:fld id="{0C6A3B79-AB4C-8741-A352-C0FC79B5DD8C}" type="slidenum">
              <a:rPr lang="en-US" smtClean="0"/>
              <a:pPr indent="-342900" algn="r" fontAlgn="base">
                <a:spcBef>
                  <a:spcPct val="0"/>
                </a:spcBef>
                <a:spcAft>
                  <a:spcPct val="0"/>
                </a:spcAft>
              </a:pPr>
              <a:t>‹#›</a:t>
            </a:fld>
            <a:r>
              <a:rPr lang="en-US" dirty="0" smtClean="0"/>
              <a:t> of X</a:t>
            </a:r>
          </a:p>
          <a:p>
            <a:pPr indent="-342900" algn="r" fontAlgn="base">
              <a:spcBef>
                <a:spcPct val="0"/>
              </a:spcBef>
              <a:spcAft>
                <a:spcPct val="0"/>
              </a:spcAft>
            </a:pPr>
            <a:r>
              <a:rPr lang="en-US" dirty="0" smtClean="0"/>
              <a:t>Date: </a:t>
            </a:r>
            <a:fld id="{57278781-CB9D-4746-B13A-1195772D845D}" type="datetime1">
              <a:rPr lang="en-US" smtClean="0"/>
              <a:pPr indent="-342900" algn="r" fontAlgn="base">
                <a:spcBef>
                  <a:spcPct val="0"/>
                </a:spcBef>
                <a:spcAft>
                  <a:spcPct val="0"/>
                </a:spcAft>
              </a:pPr>
              <a:t>1/24/2017</a:t>
            </a:fld>
            <a:endParaRPr lang="en-US" dirty="0" smtClean="0"/>
          </a:p>
          <a:p>
            <a:pPr indent="-342900" algn="r" fontAlgn="base">
              <a:spcBef>
                <a:spcPct val="0"/>
              </a:spcBef>
              <a:spcAft>
                <a:spcPct val="0"/>
              </a:spcAft>
            </a:pPr>
            <a:r>
              <a:rPr lang="en-US" dirty="0" smtClean="0"/>
              <a:t>Creator: K </a:t>
            </a:r>
            <a:r>
              <a:rPr lang="en-US" dirty="0" err="1" smtClean="0"/>
              <a:t>Ivanov</a:t>
            </a:r>
            <a:endParaRPr lang="en-US" dirty="0" smtClean="0"/>
          </a:p>
          <a:p>
            <a:pPr indent="-342900" algn="r" fontAlgn="base">
              <a:spcBef>
                <a:spcPct val="0"/>
              </a:spcBef>
              <a:spcAft>
                <a:spcPct val="0"/>
              </a:spcAft>
            </a:pPr>
            <a:endParaRPr lang="en-US" dirty="0"/>
          </a:p>
        </p:txBody>
      </p:sp>
      <p:sp>
        <p:nvSpPr>
          <p:cNvPr id="14" name="Textfeld 13"/>
          <p:cNvSpPr txBox="1"/>
          <p:nvPr/>
        </p:nvSpPr>
        <p:spPr>
          <a:xfrm rot="16200000">
            <a:off x="-2818381" y="3478215"/>
            <a:ext cx="6264697" cy="261610"/>
          </a:xfrm>
          <a:prstGeom prst="rect">
            <a:avLst/>
          </a:prstGeom>
          <a:noFill/>
        </p:spPr>
        <p:txBody>
          <a:bodyPr wrap="square" lIns="0" rtlCol="0" anchor="b" anchorCtr="0">
            <a:spAutoFit/>
          </a:bodyPr>
          <a:lstStyle/>
          <a:p>
            <a:r>
              <a:rPr lang="de-DE" sz="1100" b="1" dirty="0" smtClean="0">
                <a:solidFill>
                  <a:srgbClr val="80FF00"/>
                </a:solidFill>
              </a:rPr>
              <a:t>INTERNAL</a:t>
            </a:r>
            <a:endParaRPr lang="de-DE" sz="1100" b="0" i="0" dirty="0">
              <a:solidFill>
                <a:schemeClr val="accent6"/>
              </a:solidFill>
            </a:endParaRPr>
          </a:p>
        </p:txBody>
      </p:sp>
      <p:pic>
        <p:nvPicPr>
          <p:cNvPr id="13" name="Grafik 1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220220" y="0"/>
            <a:ext cx="1926251" cy="630000"/>
          </a:xfrm>
          <a:prstGeom prst="rect">
            <a:avLst/>
          </a:prstGeom>
        </p:spPr>
      </p:pic>
      <p:pic>
        <p:nvPicPr>
          <p:cNvPr id="18" name="Picture 2" descr="P:\Corporate_Communications\Corporate Design Policy\Logos\Logo SEBN Group\Logo_Sumitomo_Electric_Bordnetze_Group_1 Zeile_ohne_Igeta.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442028" y="6309321"/>
            <a:ext cx="2525819" cy="172611"/>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60" r:id="rId10"/>
    <p:sldLayoutId id="2147483661" r:id="rId11"/>
    <p:sldLayoutId id="2147483662" r:id="rId12"/>
    <p:sldLayoutId id="2147483663" r:id="rId13"/>
  </p:sldLayoutIdLst>
  <p:transition/>
  <p:timing>
    <p:tnLst>
      <p:par>
        <p:cTn id="1" dur="indefinite" restart="never" nodeType="tmRoot"/>
      </p:par>
    </p:tnLst>
  </p:timing>
  <p:hf hdr="0" ftr="0"/>
  <p:txStyles>
    <p:titleStyle>
      <a:lvl1pPr algn="l" rtl="0" eaLnBrk="1" fontAlgn="base" hangingPunct="1">
        <a:spcBef>
          <a:spcPct val="0"/>
        </a:spcBef>
        <a:spcAft>
          <a:spcPct val="0"/>
        </a:spcAft>
        <a:defRPr lang="en-US" sz="2000" b="1" kern="1200" noProof="0" smtClean="0">
          <a:solidFill>
            <a:srgbClr val="004E9E"/>
          </a:solidFill>
          <a:latin typeface="+mj-lt"/>
          <a:ea typeface="+mn-ea"/>
          <a:cs typeface="Arial" pitchFamily="34" charset="0"/>
        </a:defRPr>
      </a:lvl1pPr>
      <a:lvl2pPr algn="l" rtl="0" eaLnBrk="1" fontAlgn="base" hangingPunct="1">
        <a:spcBef>
          <a:spcPct val="0"/>
        </a:spcBef>
        <a:spcAft>
          <a:spcPct val="0"/>
        </a:spcAft>
        <a:defRPr sz="2200">
          <a:solidFill>
            <a:schemeClr val="tx2"/>
          </a:solidFill>
          <a:latin typeface="Arial" charset="0"/>
        </a:defRPr>
      </a:lvl2pPr>
      <a:lvl3pPr algn="l" rtl="0" eaLnBrk="1" fontAlgn="base" hangingPunct="1">
        <a:spcBef>
          <a:spcPct val="0"/>
        </a:spcBef>
        <a:spcAft>
          <a:spcPct val="0"/>
        </a:spcAft>
        <a:defRPr sz="2200">
          <a:solidFill>
            <a:schemeClr val="tx2"/>
          </a:solidFill>
          <a:latin typeface="Arial" charset="0"/>
        </a:defRPr>
      </a:lvl3pPr>
      <a:lvl4pPr algn="l" rtl="0" eaLnBrk="1" fontAlgn="base" hangingPunct="1">
        <a:spcBef>
          <a:spcPct val="0"/>
        </a:spcBef>
        <a:spcAft>
          <a:spcPct val="0"/>
        </a:spcAft>
        <a:defRPr sz="2200">
          <a:solidFill>
            <a:schemeClr val="tx2"/>
          </a:solidFill>
          <a:latin typeface="Arial" charset="0"/>
        </a:defRPr>
      </a:lvl4pPr>
      <a:lvl5pPr algn="l" rtl="0" eaLnBrk="1" fontAlgn="base" hangingPunct="1">
        <a:spcBef>
          <a:spcPct val="0"/>
        </a:spcBef>
        <a:spcAft>
          <a:spcPct val="0"/>
        </a:spcAft>
        <a:defRPr sz="2200">
          <a:solidFill>
            <a:schemeClr val="tx2"/>
          </a:solidFill>
          <a:latin typeface="Arial" charset="0"/>
        </a:defRPr>
      </a:lvl5pPr>
      <a:lvl6pPr marL="457200" algn="l" rtl="0" eaLnBrk="1" fontAlgn="base" hangingPunct="1">
        <a:spcBef>
          <a:spcPct val="0"/>
        </a:spcBef>
        <a:spcAft>
          <a:spcPct val="0"/>
        </a:spcAft>
        <a:defRPr sz="2200">
          <a:solidFill>
            <a:schemeClr val="tx2"/>
          </a:solidFill>
          <a:latin typeface="Arial" charset="0"/>
        </a:defRPr>
      </a:lvl6pPr>
      <a:lvl7pPr marL="914400" algn="l" rtl="0" eaLnBrk="1" fontAlgn="base" hangingPunct="1">
        <a:spcBef>
          <a:spcPct val="0"/>
        </a:spcBef>
        <a:spcAft>
          <a:spcPct val="0"/>
        </a:spcAft>
        <a:defRPr sz="2200">
          <a:solidFill>
            <a:schemeClr val="tx2"/>
          </a:solidFill>
          <a:latin typeface="Arial" charset="0"/>
        </a:defRPr>
      </a:lvl7pPr>
      <a:lvl8pPr marL="1371600" algn="l" rtl="0" eaLnBrk="1" fontAlgn="base" hangingPunct="1">
        <a:spcBef>
          <a:spcPct val="0"/>
        </a:spcBef>
        <a:spcAft>
          <a:spcPct val="0"/>
        </a:spcAft>
        <a:defRPr sz="2200">
          <a:solidFill>
            <a:schemeClr val="tx2"/>
          </a:solidFill>
          <a:latin typeface="Arial" charset="0"/>
        </a:defRPr>
      </a:lvl8pPr>
      <a:lvl9pPr marL="1828800" algn="l" rtl="0" eaLnBrk="1" fontAlgn="base" hangingPunct="1">
        <a:spcBef>
          <a:spcPct val="0"/>
        </a:spcBef>
        <a:spcAft>
          <a:spcPct val="0"/>
        </a:spcAft>
        <a:defRPr sz="2200">
          <a:solidFill>
            <a:schemeClr val="tx2"/>
          </a:solidFill>
          <a:latin typeface="Arial" charset="0"/>
        </a:defRPr>
      </a:lvl9pPr>
    </p:titleStyle>
    <p:bodyStyle>
      <a:lvl1pPr marL="342900" indent="-342900" algn="l" rtl="0" eaLnBrk="1" fontAlgn="base" hangingPunct="1">
        <a:spcBef>
          <a:spcPct val="20000"/>
        </a:spcBef>
        <a:spcAft>
          <a:spcPct val="0"/>
        </a:spcAft>
        <a:defRPr sz="2000" b="1">
          <a:solidFill>
            <a:srgbClr val="004E9E"/>
          </a:solidFill>
          <a:latin typeface="+mn-lt"/>
          <a:ea typeface="+mn-ea"/>
          <a:cs typeface="+mn-cs"/>
        </a:defRPr>
      </a:lvl1pPr>
      <a:lvl2pPr marL="742950" indent="-285750" algn="l" rtl="0" eaLnBrk="1" fontAlgn="base" hangingPunct="1">
        <a:spcBef>
          <a:spcPct val="20000"/>
        </a:spcBef>
        <a:spcAft>
          <a:spcPct val="0"/>
        </a:spcAft>
        <a:buClr>
          <a:srgbClr val="004E9E"/>
        </a:buClr>
        <a:buFont typeface="Arial" pitchFamily="34" charset="0"/>
        <a:buChar char="■"/>
        <a:defRPr baseline="0">
          <a:solidFill>
            <a:srgbClr val="004E9E"/>
          </a:solidFill>
          <a:latin typeface="+mn-lt"/>
        </a:defRPr>
      </a:lvl2pPr>
      <a:lvl3pPr marL="1143000" indent="-228600" algn="l" rtl="0" eaLnBrk="1" fontAlgn="base" hangingPunct="1">
        <a:spcBef>
          <a:spcPct val="20000"/>
        </a:spcBef>
        <a:spcAft>
          <a:spcPct val="0"/>
        </a:spcAft>
        <a:buClr>
          <a:srgbClr val="004E9E"/>
        </a:buClr>
        <a:buFont typeface="Arial" pitchFamily="34" charset="0"/>
        <a:buChar char="■"/>
        <a:defRPr sz="1600" baseline="0">
          <a:solidFill>
            <a:srgbClr val="004E9E"/>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2.vml"/><Relationship Id="rId5" Type="http://schemas.openxmlformats.org/officeDocument/2006/relationships/image" Target="../media/image3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Line 11"/>
          <p:cNvSpPr>
            <a:spLocks noChangeShapeType="1"/>
          </p:cNvSpPr>
          <p:nvPr>
            <p:custDataLst>
              <p:tags r:id="rId1"/>
            </p:custDataLst>
          </p:nvPr>
        </p:nvSpPr>
        <p:spPr bwMode="auto">
          <a:xfrm>
            <a:off x="457680" y="6189663"/>
            <a:ext cx="8434800" cy="0"/>
          </a:xfrm>
          <a:prstGeom prst="line">
            <a:avLst/>
          </a:prstGeom>
          <a:noFill/>
          <a:ln w="9525">
            <a:solidFill>
              <a:schemeClr val="bg1">
                <a:lumMod val="75000"/>
              </a:schemeClr>
            </a:solidFill>
            <a:round/>
            <a:headEnd/>
            <a:tailEnd/>
          </a:ln>
          <a:effectLst/>
        </p:spPr>
        <p:txBody>
          <a:bodyPr/>
          <a:lstStyle/>
          <a:p>
            <a:pPr fontAlgn="base">
              <a:spcBef>
                <a:spcPct val="0"/>
              </a:spcBef>
              <a:spcAft>
                <a:spcPct val="0"/>
              </a:spcAft>
            </a:pPr>
            <a:endParaRPr lang="en-US" noProof="0">
              <a:solidFill>
                <a:srgbClr val="000000"/>
              </a:solidFill>
            </a:endParaRPr>
          </a:p>
        </p:txBody>
      </p:sp>
      <p:sp>
        <p:nvSpPr>
          <p:cNvPr id="11" name="Textfeld 10"/>
          <p:cNvSpPr txBox="1"/>
          <p:nvPr/>
        </p:nvSpPr>
        <p:spPr>
          <a:xfrm>
            <a:off x="446300" y="801580"/>
            <a:ext cx="7643925" cy="246221"/>
          </a:xfrm>
          <a:prstGeom prst="rect">
            <a:avLst/>
          </a:prstGeom>
          <a:noFill/>
        </p:spPr>
        <p:txBody>
          <a:bodyPr wrap="square" lIns="0" rtlCol="0">
            <a:spAutoFit/>
          </a:bodyPr>
          <a:lstStyle/>
          <a:p>
            <a:pPr lvl="0"/>
            <a:r>
              <a:rPr lang="de-DE" sz="1000" b="1" dirty="0" smtClean="0">
                <a:solidFill>
                  <a:srgbClr val="80FF00"/>
                </a:solidFill>
              </a:rPr>
              <a:t>INTERNAL</a:t>
            </a:r>
            <a:endParaRPr lang="de-DE" sz="1000" b="1" dirty="0">
              <a:solidFill>
                <a:srgbClr val="FF0000"/>
              </a:solidFill>
            </a:endParaRPr>
          </a:p>
        </p:txBody>
      </p:sp>
      <p:sp>
        <p:nvSpPr>
          <p:cNvPr id="9" name="Datumsplatzhalter 16"/>
          <p:cNvSpPr txBox="1">
            <a:spLocks/>
          </p:cNvSpPr>
          <p:nvPr>
            <p:custDataLst>
              <p:tags r:id="rId2"/>
            </p:custDataLst>
          </p:nvPr>
        </p:nvSpPr>
        <p:spPr>
          <a:xfrm>
            <a:off x="7812360" y="6381328"/>
            <a:ext cx="1163206" cy="360040"/>
          </a:xfrm>
          <a:prstGeom prst="rect">
            <a:avLst/>
          </a:prstGeom>
          <a:noFill/>
          <a:ln w="9525">
            <a:noFill/>
            <a:miter lim="800000"/>
            <a:headEnd/>
            <a:tailEnd/>
          </a:ln>
          <a:effectLst/>
        </p:spPr>
        <p:txBody>
          <a:bodyPr vert="horz" wrap="square" lIns="91440" tIns="36000" rIns="0" bIns="36000" numCol="1" anchor="ctr" anchorCtr="0" compatLnSpc="1">
            <a:prstTxWarp prst="textNoShape">
              <a:avLst/>
            </a:prstTxWarp>
          </a:bodyPr>
          <a:lstStyle>
            <a:defPPr>
              <a:defRPr lang="de-DE"/>
            </a:defPPr>
            <a:lvl1pPr marL="0" algn="ctr" defTabSz="914400" rtl="0" eaLnBrk="1" latinLnBrk="0" hangingPunct="1">
              <a:defRPr kumimoji="0" lang="en-US" sz="800" b="0" i="0" u="none" strike="noStrike" kern="1200" cap="none" spc="0" normalizeH="0" baseline="0" noProof="0" smtClean="0">
                <a:ln>
                  <a:noFill/>
                </a:ln>
                <a:solidFill>
                  <a:srgbClr val="000000"/>
                </a:solidFill>
                <a:effectLst/>
                <a:uLnTx/>
                <a:uFillTx/>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342900" algn="r" fontAlgn="base">
              <a:spcBef>
                <a:spcPct val="0"/>
              </a:spcBef>
              <a:spcAft>
                <a:spcPct val="0"/>
              </a:spcAft>
            </a:pPr>
            <a:r>
              <a:rPr lang="en-US" dirty="0" smtClean="0"/>
              <a:t>Page: </a:t>
            </a:r>
            <a:fld id="{0C6A3B79-AB4C-8741-A352-C0FC79B5DD8C}" type="slidenum">
              <a:rPr lang="en-US" smtClean="0"/>
              <a:pPr indent="-342900" algn="r" fontAlgn="base">
                <a:spcBef>
                  <a:spcPct val="0"/>
                </a:spcBef>
                <a:spcAft>
                  <a:spcPct val="0"/>
                </a:spcAft>
              </a:pPr>
              <a:t>1</a:t>
            </a:fld>
            <a:r>
              <a:rPr lang="en-US" dirty="0" smtClean="0"/>
              <a:t> of </a:t>
            </a:r>
            <a:r>
              <a:rPr lang="en-US" dirty="0"/>
              <a:t>6</a:t>
            </a:r>
            <a:endParaRPr lang="en-US" dirty="0" smtClean="0"/>
          </a:p>
          <a:p>
            <a:pPr indent="-342900" algn="r" fontAlgn="base">
              <a:spcBef>
                <a:spcPct val="0"/>
              </a:spcBef>
              <a:spcAft>
                <a:spcPct val="0"/>
              </a:spcAft>
            </a:pPr>
            <a:r>
              <a:rPr lang="en-US" dirty="0" smtClean="0"/>
              <a:t>Date: </a:t>
            </a:r>
            <a:r>
              <a:rPr lang="pl-PL" dirty="0" smtClean="0"/>
              <a:t>201</a:t>
            </a:r>
            <a:r>
              <a:rPr lang="en-US" dirty="0" smtClean="0"/>
              <a:t>7</a:t>
            </a:r>
            <a:r>
              <a:rPr lang="pl-PL" dirty="0" smtClean="0"/>
              <a:t>-0</a:t>
            </a:r>
            <a:r>
              <a:rPr lang="en-US" dirty="0" smtClean="0"/>
              <a:t>1</a:t>
            </a:r>
            <a:r>
              <a:rPr lang="pl-PL" dirty="0" smtClean="0"/>
              <a:t>-</a:t>
            </a:r>
            <a:r>
              <a:rPr lang="en-US" dirty="0" smtClean="0"/>
              <a:t>20</a:t>
            </a:r>
          </a:p>
          <a:p>
            <a:pPr indent="-342900" algn="r" fontAlgn="base">
              <a:spcBef>
                <a:spcPct val="0"/>
              </a:spcBef>
              <a:spcAft>
                <a:spcPct val="0"/>
              </a:spcAft>
            </a:pPr>
            <a:r>
              <a:rPr lang="en-US" dirty="0" smtClean="0"/>
              <a:t>Creator: </a:t>
            </a:r>
            <a:r>
              <a:rPr lang="en-US" dirty="0" err="1" smtClean="0"/>
              <a:t>Kiril</a:t>
            </a:r>
            <a:r>
              <a:rPr lang="en-US" dirty="0" smtClean="0"/>
              <a:t> </a:t>
            </a:r>
            <a:r>
              <a:rPr lang="en-US" dirty="0" err="1" smtClean="0"/>
              <a:t>Ivanov</a:t>
            </a:r>
            <a:endParaRPr lang="en-US" dirty="0" smtClean="0"/>
          </a:p>
        </p:txBody>
      </p:sp>
      <p:sp>
        <p:nvSpPr>
          <p:cNvPr id="12" name="Titel 7"/>
          <p:cNvSpPr>
            <a:spLocks noGrp="1"/>
          </p:cNvSpPr>
          <p:nvPr/>
        </p:nvSpPr>
        <p:spPr bwMode="auto">
          <a:xfrm>
            <a:off x="143509" y="2672915"/>
            <a:ext cx="8856983" cy="575247"/>
          </a:xfrm>
          <a:prstGeom prst="rect">
            <a:avLst/>
          </a:prstGeom>
          <a:ln>
            <a:noFill/>
          </a:ln>
        </p:spPr>
        <p:txBody>
          <a:bodyPr vert="horz" lIns="0" tIns="0" rIns="0" bIns="0" rtlCol="0" anchor="b" anchorCtr="0">
            <a:noAutofit/>
          </a:bodyPr>
          <a:lstStyle>
            <a:lvl1pPr algn="l" rtl="0" eaLnBrk="1" fontAlgn="base" hangingPunct="1">
              <a:spcBef>
                <a:spcPct val="0"/>
              </a:spcBef>
              <a:spcAft>
                <a:spcPct val="0"/>
              </a:spcAft>
              <a:defRPr lang="en-US" sz="2000" b="1" kern="1200" baseline="0" noProof="0">
                <a:solidFill>
                  <a:srgbClr val="004E9E"/>
                </a:solidFill>
                <a:latin typeface="+mj-lt"/>
                <a:ea typeface="+mn-ea"/>
                <a:cs typeface="Arial" pitchFamily="34" charset="0"/>
              </a:defRPr>
            </a:lvl1pPr>
            <a:lvl2pPr algn="l" rtl="0" eaLnBrk="1" fontAlgn="base" hangingPunct="1">
              <a:spcBef>
                <a:spcPct val="0"/>
              </a:spcBef>
              <a:spcAft>
                <a:spcPct val="0"/>
              </a:spcAft>
              <a:defRPr sz="2200">
                <a:solidFill>
                  <a:schemeClr val="tx2"/>
                </a:solidFill>
                <a:latin typeface="Arial" charset="0"/>
              </a:defRPr>
            </a:lvl2pPr>
            <a:lvl3pPr algn="l" rtl="0" eaLnBrk="1" fontAlgn="base" hangingPunct="1">
              <a:spcBef>
                <a:spcPct val="0"/>
              </a:spcBef>
              <a:spcAft>
                <a:spcPct val="0"/>
              </a:spcAft>
              <a:defRPr sz="2200">
                <a:solidFill>
                  <a:schemeClr val="tx2"/>
                </a:solidFill>
                <a:latin typeface="Arial" charset="0"/>
              </a:defRPr>
            </a:lvl3pPr>
            <a:lvl4pPr algn="l" rtl="0" eaLnBrk="1" fontAlgn="base" hangingPunct="1">
              <a:spcBef>
                <a:spcPct val="0"/>
              </a:spcBef>
              <a:spcAft>
                <a:spcPct val="0"/>
              </a:spcAft>
              <a:defRPr sz="2200">
                <a:solidFill>
                  <a:schemeClr val="tx2"/>
                </a:solidFill>
                <a:latin typeface="Arial" charset="0"/>
              </a:defRPr>
            </a:lvl4pPr>
            <a:lvl5pPr algn="l" rtl="0" eaLnBrk="1" fontAlgn="base" hangingPunct="1">
              <a:spcBef>
                <a:spcPct val="0"/>
              </a:spcBef>
              <a:spcAft>
                <a:spcPct val="0"/>
              </a:spcAft>
              <a:defRPr sz="2200">
                <a:solidFill>
                  <a:schemeClr val="tx2"/>
                </a:solidFill>
                <a:latin typeface="Arial" charset="0"/>
              </a:defRPr>
            </a:lvl5pPr>
            <a:lvl6pPr marL="457200" algn="l" rtl="0" eaLnBrk="1" fontAlgn="base" hangingPunct="1">
              <a:spcBef>
                <a:spcPct val="0"/>
              </a:spcBef>
              <a:spcAft>
                <a:spcPct val="0"/>
              </a:spcAft>
              <a:defRPr sz="2200">
                <a:solidFill>
                  <a:schemeClr val="tx2"/>
                </a:solidFill>
                <a:latin typeface="Arial" charset="0"/>
              </a:defRPr>
            </a:lvl6pPr>
            <a:lvl7pPr marL="914400" algn="l" rtl="0" eaLnBrk="1" fontAlgn="base" hangingPunct="1">
              <a:spcBef>
                <a:spcPct val="0"/>
              </a:spcBef>
              <a:spcAft>
                <a:spcPct val="0"/>
              </a:spcAft>
              <a:defRPr sz="2200">
                <a:solidFill>
                  <a:schemeClr val="tx2"/>
                </a:solidFill>
                <a:latin typeface="Arial" charset="0"/>
              </a:defRPr>
            </a:lvl7pPr>
            <a:lvl8pPr marL="1371600" algn="l" rtl="0" eaLnBrk="1" fontAlgn="base" hangingPunct="1">
              <a:spcBef>
                <a:spcPct val="0"/>
              </a:spcBef>
              <a:spcAft>
                <a:spcPct val="0"/>
              </a:spcAft>
              <a:defRPr sz="2200">
                <a:solidFill>
                  <a:schemeClr val="tx2"/>
                </a:solidFill>
                <a:latin typeface="Arial" charset="0"/>
              </a:defRPr>
            </a:lvl8pPr>
            <a:lvl9pPr marL="1828800" algn="l" rtl="0" eaLnBrk="1" fontAlgn="base" hangingPunct="1">
              <a:spcBef>
                <a:spcPct val="0"/>
              </a:spcBef>
              <a:spcAft>
                <a:spcPct val="0"/>
              </a:spcAft>
              <a:defRPr sz="2200">
                <a:solidFill>
                  <a:schemeClr val="tx2"/>
                </a:solidFill>
                <a:latin typeface="Arial" charset="0"/>
              </a:defRPr>
            </a:lvl9pPr>
          </a:lstStyle>
          <a:p>
            <a:endParaRPr lang="en-US" dirty="0"/>
          </a:p>
        </p:txBody>
      </p:sp>
      <p:sp>
        <p:nvSpPr>
          <p:cNvPr id="13" name="Untertitel 8"/>
          <p:cNvSpPr>
            <a:spLocks noGrp="1"/>
          </p:cNvSpPr>
          <p:nvPr/>
        </p:nvSpPr>
        <p:spPr bwMode="auto">
          <a:xfrm>
            <a:off x="143508" y="3283087"/>
            <a:ext cx="8856984" cy="325933"/>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marL="0" indent="0" algn="l" rtl="0" eaLnBrk="1" fontAlgn="base" hangingPunct="1">
              <a:spcBef>
                <a:spcPct val="20000"/>
              </a:spcBef>
              <a:spcAft>
                <a:spcPct val="0"/>
              </a:spcAft>
              <a:defRPr sz="1800" b="0">
                <a:solidFill>
                  <a:srgbClr val="004E9E"/>
                </a:solidFill>
                <a:latin typeface="+mn-lt"/>
                <a:ea typeface="+mn-ea"/>
                <a:cs typeface="+mn-cs"/>
              </a:defRPr>
            </a:lvl1pPr>
            <a:lvl2pPr marL="742950" indent="-285750" algn="l" rtl="0" eaLnBrk="1" fontAlgn="base" hangingPunct="1">
              <a:spcBef>
                <a:spcPct val="20000"/>
              </a:spcBef>
              <a:spcAft>
                <a:spcPct val="0"/>
              </a:spcAft>
              <a:buClr>
                <a:srgbClr val="004E9E"/>
              </a:buClr>
              <a:buFont typeface="Arial" pitchFamily="34" charset="0"/>
              <a:buChar char="■"/>
              <a:defRPr baseline="0">
                <a:solidFill>
                  <a:srgbClr val="004E9E"/>
                </a:solidFill>
                <a:latin typeface="+mn-lt"/>
              </a:defRPr>
            </a:lvl2pPr>
            <a:lvl3pPr marL="1143000" indent="-228600" algn="l" rtl="0" eaLnBrk="1" fontAlgn="base" hangingPunct="1">
              <a:spcBef>
                <a:spcPct val="20000"/>
              </a:spcBef>
              <a:spcAft>
                <a:spcPct val="0"/>
              </a:spcAft>
              <a:buClr>
                <a:srgbClr val="004E9E"/>
              </a:buClr>
              <a:buFont typeface="Arial" pitchFamily="34" charset="0"/>
              <a:buChar char="■"/>
              <a:defRPr sz="1600" baseline="0">
                <a:solidFill>
                  <a:srgbClr val="004E9E"/>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endParaRPr lang="en-US" dirty="0"/>
          </a:p>
        </p:txBody>
      </p:sp>
      <p:sp>
        <p:nvSpPr>
          <p:cNvPr id="14" name="Textplatzhalter 9"/>
          <p:cNvSpPr>
            <a:spLocks noGrp="1"/>
          </p:cNvSpPr>
          <p:nvPr/>
        </p:nvSpPr>
        <p:spPr bwMode="auto">
          <a:xfrm>
            <a:off x="143508" y="3896161"/>
            <a:ext cx="3120561" cy="288925"/>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marL="342900" indent="-342900" algn="l" rtl="0" eaLnBrk="1" fontAlgn="base" hangingPunct="1">
              <a:spcBef>
                <a:spcPct val="20000"/>
              </a:spcBef>
              <a:spcAft>
                <a:spcPct val="0"/>
              </a:spcAft>
              <a:defRPr sz="2000" b="1">
                <a:solidFill>
                  <a:srgbClr val="004E9E"/>
                </a:solidFill>
                <a:latin typeface="+mn-lt"/>
                <a:ea typeface="+mn-ea"/>
                <a:cs typeface="+mn-cs"/>
              </a:defRPr>
            </a:lvl1pPr>
            <a:lvl2pPr marL="742950" indent="-285750" algn="l" rtl="0" eaLnBrk="1" fontAlgn="base" hangingPunct="1">
              <a:spcBef>
                <a:spcPct val="20000"/>
              </a:spcBef>
              <a:spcAft>
                <a:spcPct val="0"/>
              </a:spcAft>
              <a:buClr>
                <a:srgbClr val="004E9E"/>
              </a:buClr>
              <a:buFont typeface="Arial" pitchFamily="34" charset="0"/>
              <a:buChar char="■"/>
              <a:defRPr baseline="0">
                <a:solidFill>
                  <a:srgbClr val="004E9E"/>
                </a:solidFill>
                <a:latin typeface="+mn-lt"/>
              </a:defRPr>
            </a:lvl2pPr>
            <a:lvl3pPr marL="1143000" indent="-228600" algn="l" rtl="0" eaLnBrk="1" fontAlgn="base" hangingPunct="1">
              <a:spcBef>
                <a:spcPct val="20000"/>
              </a:spcBef>
              <a:spcAft>
                <a:spcPct val="0"/>
              </a:spcAft>
              <a:buClr>
                <a:srgbClr val="004E9E"/>
              </a:buClr>
              <a:buFont typeface="Arial" pitchFamily="34" charset="0"/>
              <a:buChar char="■"/>
              <a:defRPr sz="1600" baseline="0">
                <a:solidFill>
                  <a:srgbClr val="004E9E"/>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0" indent="0" algn="l" rtl="0" eaLnBrk="1" fontAlgn="base" hangingPunct="1">
              <a:spcBef>
                <a:spcPct val="20000"/>
              </a:spcBef>
              <a:spcAft>
                <a:spcPct val="0"/>
              </a:spcAft>
              <a:buNone/>
              <a:defRPr lang="en-US" sz="1800" b="0" dirty="0" smtClean="0">
                <a:solidFill>
                  <a:srgbClr val="004E9E"/>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endParaRPr lang="en-US" sz="1800" b="0" dirty="0"/>
          </a:p>
        </p:txBody>
      </p:sp>
      <p:sp>
        <p:nvSpPr>
          <p:cNvPr id="16" name="Titel 7"/>
          <p:cNvSpPr>
            <a:spLocks noGrp="1"/>
          </p:cNvSpPr>
          <p:nvPr/>
        </p:nvSpPr>
        <p:spPr bwMode="auto">
          <a:xfrm>
            <a:off x="301426" y="3354305"/>
            <a:ext cx="8856983" cy="575247"/>
          </a:xfrm>
          <a:prstGeom prst="rect">
            <a:avLst/>
          </a:prstGeom>
          <a:ln>
            <a:noFill/>
          </a:ln>
        </p:spPr>
        <p:txBody>
          <a:bodyPr vert="horz" lIns="0" tIns="0" rIns="0" bIns="0" rtlCol="0" anchor="b" anchorCtr="0">
            <a:noAutofit/>
          </a:bodyPr>
          <a:lstStyle>
            <a:lvl1pPr algn="l" rtl="0" eaLnBrk="1" fontAlgn="base" hangingPunct="1">
              <a:spcBef>
                <a:spcPct val="0"/>
              </a:spcBef>
              <a:spcAft>
                <a:spcPct val="0"/>
              </a:spcAft>
              <a:defRPr lang="en-US" sz="2000" b="1" kern="1200" baseline="0" noProof="0">
                <a:solidFill>
                  <a:srgbClr val="004E9E"/>
                </a:solidFill>
                <a:latin typeface="+mj-lt"/>
                <a:ea typeface="+mn-ea"/>
                <a:cs typeface="Arial" pitchFamily="34" charset="0"/>
              </a:defRPr>
            </a:lvl1pPr>
            <a:lvl2pPr algn="l" rtl="0" eaLnBrk="1" fontAlgn="base" hangingPunct="1">
              <a:spcBef>
                <a:spcPct val="0"/>
              </a:spcBef>
              <a:spcAft>
                <a:spcPct val="0"/>
              </a:spcAft>
              <a:defRPr sz="2200">
                <a:solidFill>
                  <a:schemeClr val="tx2"/>
                </a:solidFill>
                <a:latin typeface="Arial" charset="0"/>
              </a:defRPr>
            </a:lvl2pPr>
            <a:lvl3pPr algn="l" rtl="0" eaLnBrk="1" fontAlgn="base" hangingPunct="1">
              <a:spcBef>
                <a:spcPct val="0"/>
              </a:spcBef>
              <a:spcAft>
                <a:spcPct val="0"/>
              </a:spcAft>
              <a:defRPr sz="2200">
                <a:solidFill>
                  <a:schemeClr val="tx2"/>
                </a:solidFill>
                <a:latin typeface="Arial" charset="0"/>
              </a:defRPr>
            </a:lvl3pPr>
            <a:lvl4pPr algn="l" rtl="0" eaLnBrk="1" fontAlgn="base" hangingPunct="1">
              <a:spcBef>
                <a:spcPct val="0"/>
              </a:spcBef>
              <a:spcAft>
                <a:spcPct val="0"/>
              </a:spcAft>
              <a:defRPr sz="2200">
                <a:solidFill>
                  <a:schemeClr val="tx2"/>
                </a:solidFill>
                <a:latin typeface="Arial" charset="0"/>
              </a:defRPr>
            </a:lvl4pPr>
            <a:lvl5pPr algn="l" rtl="0" eaLnBrk="1" fontAlgn="base" hangingPunct="1">
              <a:spcBef>
                <a:spcPct val="0"/>
              </a:spcBef>
              <a:spcAft>
                <a:spcPct val="0"/>
              </a:spcAft>
              <a:defRPr sz="2200">
                <a:solidFill>
                  <a:schemeClr val="tx2"/>
                </a:solidFill>
                <a:latin typeface="Arial" charset="0"/>
              </a:defRPr>
            </a:lvl5pPr>
            <a:lvl6pPr marL="457200" algn="l" rtl="0" eaLnBrk="1" fontAlgn="base" hangingPunct="1">
              <a:spcBef>
                <a:spcPct val="0"/>
              </a:spcBef>
              <a:spcAft>
                <a:spcPct val="0"/>
              </a:spcAft>
              <a:defRPr sz="2200">
                <a:solidFill>
                  <a:schemeClr val="tx2"/>
                </a:solidFill>
                <a:latin typeface="Arial" charset="0"/>
              </a:defRPr>
            </a:lvl6pPr>
            <a:lvl7pPr marL="914400" algn="l" rtl="0" eaLnBrk="1" fontAlgn="base" hangingPunct="1">
              <a:spcBef>
                <a:spcPct val="0"/>
              </a:spcBef>
              <a:spcAft>
                <a:spcPct val="0"/>
              </a:spcAft>
              <a:defRPr sz="2200">
                <a:solidFill>
                  <a:schemeClr val="tx2"/>
                </a:solidFill>
                <a:latin typeface="Arial" charset="0"/>
              </a:defRPr>
            </a:lvl7pPr>
            <a:lvl8pPr marL="1371600" algn="l" rtl="0" eaLnBrk="1" fontAlgn="base" hangingPunct="1">
              <a:spcBef>
                <a:spcPct val="0"/>
              </a:spcBef>
              <a:spcAft>
                <a:spcPct val="0"/>
              </a:spcAft>
              <a:defRPr sz="2200">
                <a:solidFill>
                  <a:schemeClr val="tx2"/>
                </a:solidFill>
                <a:latin typeface="Arial" charset="0"/>
              </a:defRPr>
            </a:lvl8pPr>
            <a:lvl9pPr marL="1828800" algn="l" rtl="0" eaLnBrk="1" fontAlgn="base" hangingPunct="1">
              <a:spcBef>
                <a:spcPct val="0"/>
              </a:spcBef>
              <a:spcAft>
                <a:spcPct val="0"/>
              </a:spcAft>
              <a:defRPr sz="2200">
                <a:solidFill>
                  <a:schemeClr val="tx2"/>
                </a:solidFill>
                <a:latin typeface="Arial" charset="0"/>
              </a:defRPr>
            </a:lvl9pPr>
          </a:lstStyle>
          <a:p>
            <a:r>
              <a:rPr lang="en-US" dirty="0" smtClean="0"/>
              <a:t>New solution for problem with missing sealing sticks SG MOT</a:t>
            </a:r>
            <a:endParaRPr lang="en-US" dirty="0"/>
          </a:p>
        </p:txBody>
      </p:sp>
      <p:sp>
        <p:nvSpPr>
          <p:cNvPr id="17" name="Untertitel 8"/>
          <p:cNvSpPr>
            <a:spLocks noGrp="1"/>
          </p:cNvSpPr>
          <p:nvPr/>
        </p:nvSpPr>
        <p:spPr bwMode="auto">
          <a:xfrm>
            <a:off x="301425" y="3964477"/>
            <a:ext cx="8856984" cy="325933"/>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marL="0" indent="0" algn="l" rtl="0" eaLnBrk="1" fontAlgn="base" hangingPunct="1">
              <a:spcBef>
                <a:spcPct val="20000"/>
              </a:spcBef>
              <a:spcAft>
                <a:spcPct val="0"/>
              </a:spcAft>
              <a:defRPr sz="1800" b="0">
                <a:solidFill>
                  <a:srgbClr val="004E9E"/>
                </a:solidFill>
                <a:latin typeface="+mn-lt"/>
                <a:ea typeface="+mn-ea"/>
                <a:cs typeface="+mn-cs"/>
              </a:defRPr>
            </a:lvl1pPr>
            <a:lvl2pPr marL="742950" indent="-285750" algn="l" rtl="0" eaLnBrk="1" fontAlgn="base" hangingPunct="1">
              <a:spcBef>
                <a:spcPct val="20000"/>
              </a:spcBef>
              <a:spcAft>
                <a:spcPct val="0"/>
              </a:spcAft>
              <a:buClr>
                <a:srgbClr val="004E9E"/>
              </a:buClr>
              <a:buFont typeface="Arial" pitchFamily="34" charset="0"/>
              <a:buChar char="■"/>
              <a:defRPr baseline="0">
                <a:solidFill>
                  <a:srgbClr val="004E9E"/>
                </a:solidFill>
                <a:latin typeface="+mn-lt"/>
              </a:defRPr>
            </a:lvl2pPr>
            <a:lvl3pPr marL="1143000" indent="-228600" algn="l" rtl="0" eaLnBrk="1" fontAlgn="base" hangingPunct="1">
              <a:spcBef>
                <a:spcPct val="20000"/>
              </a:spcBef>
              <a:spcAft>
                <a:spcPct val="0"/>
              </a:spcAft>
              <a:buClr>
                <a:srgbClr val="004E9E"/>
              </a:buClr>
              <a:buFont typeface="Arial" pitchFamily="34" charset="0"/>
              <a:buChar char="■"/>
              <a:defRPr sz="1600" baseline="0">
                <a:solidFill>
                  <a:srgbClr val="004E9E"/>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r>
              <a:rPr lang="en-US" dirty="0" smtClean="0"/>
              <a:t>Seat </a:t>
            </a:r>
            <a:r>
              <a:rPr lang="en-US" dirty="0" err="1" smtClean="0"/>
              <a:t>Ateca</a:t>
            </a:r>
            <a:r>
              <a:rPr lang="en-US" dirty="0" smtClean="0"/>
              <a:t> KSK </a:t>
            </a:r>
            <a:r>
              <a:rPr lang="en-US" dirty="0" err="1" smtClean="0"/>
              <a:t>Motorraum</a:t>
            </a:r>
            <a:endParaRPr lang="en-US" dirty="0"/>
          </a:p>
        </p:txBody>
      </p:sp>
      <p:sp>
        <p:nvSpPr>
          <p:cNvPr id="18" name="Textplatzhalter 9"/>
          <p:cNvSpPr>
            <a:spLocks noGrp="1"/>
          </p:cNvSpPr>
          <p:nvPr/>
        </p:nvSpPr>
        <p:spPr bwMode="auto">
          <a:xfrm>
            <a:off x="301425" y="4577551"/>
            <a:ext cx="3120561" cy="288925"/>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marL="342900" indent="-342900" algn="l" rtl="0" eaLnBrk="1" fontAlgn="base" hangingPunct="1">
              <a:spcBef>
                <a:spcPct val="20000"/>
              </a:spcBef>
              <a:spcAft>
                <a:spcPct val="0"/>
              </a:spcAft>
              <a:defRPr sz="2000" b="1">
                <a:solidFill>
                  <a:srgbClr val="004E9E"/>
                </a:solidFill>
                <a:latin typeface="+mn-lt"/>
                <a:ea typeface="+mn-ea"/>
                <a:cs typeface="+mn-cs"/>
              </a:defRPr>
            </a:lvl1pPr>
            <a:lvl2pPr marL="742950" indent="-285750" algn="l" rtl="0" eaLnBrk="1" fontAlgn="base" hangingPunct="1">
              <a:spcBef>
                <a:spcPct val="20000"/>
              </a:spcBef>
              <a:spcAft>
                <a:spcPct val="0"/>
              </a:spcAft>
              <a:buClr>
                <a:srgbClr val="004E9E"/>
              </a:buClr>
              <a:buFont typeface="Arial" pitchFamily="34" charset="0"/>
              <a:buChar char="■"/>
              <a:defRPr baseline="0">
                <a:solidFill>
                  <a:srgbClr val="004E9E"/>
                </a:solidFill>
                <a:latin typeface="+mn-lt"/>
              </a:defRPr>
            </a:lvl2pPr>
            <a:lvl3pPr marL="1143000" indent="-228600" algn="l" rtl="0" eaLnBrk="1" fontAlgn="base" hangingPunct="1">
              <a:spcBef>
                <a:spcPct val="20000"/>
              </a:spcBef>
              <a:spcAft>
                <a:spcPct val="0"/>
              </a:spcAft>
              <a:buClr>
                <a:srgbClr val="004E9E"/>
              </a:buClr>
              <a:buFont typeface="Arial" pitchFamily="34" charset="0"/>
              <a:buChar char="■"/>
              <a:defRPr sz="1600" baseline="0">
                <a:solidFill>
                  <a:srgbClr val="004E9E"/>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0" indent="0" algn="l" rtl="0" eaLnBrk="1" fontAlgn="base" hangingPunct="1">
              <a:spcBef>
                <a:spcPct val="20000"/>
              </a:spcBef>
              <a:spcAft>
                <a:spcPct val="0"/>
              </a:spcAft>
              <a:buNone/>
              <a:defRPr lang="en-US" sz="1800" b="0" dirty="0" smtClean="0">
                <a:solidFill>
                  <a:srgbClr val="004E9E"/>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r>
              <a:rPr lang="en-US" sz="1800" b="0" dirty="0" err="1" smtClean="0"/>
              <a:t>Mezdra</a:t>
            </a:r>
            <a:r>
              <a:rPr lang="en-US" sz="1800" b="0" dirty="0" smtClean="0"/>
              <a:t>, 20.01.2017</a:t>
            </a:r>
            <a:endParaRPr lang="en-US" sz="1800" b="0" dirty="0"/>
          </a:p>
        </p:txBody>
      </p:sp>
    </p:spTree>
    <p:extLst>
      <p:ext uri="{BB962C8B-B14F-4D97-AF65-F5344CB8AC3E}">
        <p14:creationId xmlns:p14="http://schemas.microsoft.com/office/powerpoint/2010/main" val="71872994"/>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2308829"/>
            <a:ext cx="8518556" cy="34705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755576" y="1052736"/>
            <a:ext cx="8014500" cy="769441"/>
          </a:xfrm>
          <a:prstGeom prst="rect">
            <a:avLst/>
          </a:prstGeom>
        </p:spPr>
        <p:txBody>
          <a:bodyPr wrap="square">
            <a:spAutoFit/>
          </a:bodyPr>
          <a:lstStyle/>
          <a:p>
            <a:r>
              <a:rPr lang="en-US" sz="4400" dirty="0">
                <a:solidFill>
                  <a:srgbClr val="00B050"/>
                </a:solidFill>
              </a:rPr>
              <a:t>Top mistake for KSK Seat MR</a:t>
            </a:r>
            <a:endParaRPr lang="bg-BG" sz="4400" dirty="0"/>
          </a:p>
        </p:txBody>
      </p:sp>
    </p:spTree>
    <p:extLst>
      <p:ext uri="{BB962C8B-B14F-4D97-AF65-F5344CB8AC3E}">
        <p14:creationId xmlns:p14="http://schemas.microsoft.com/office/powerpoint/2010/main" val="3603735935"/>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4135" y="692696"/>
            <a:ext cx="8434800" cy="1674972"/>
          </a:xfrm>
        </p:spPr>
        <p:txBody>
          <a:bodyPr/>
          <a:lstStyle/>
          <a:p>
            <a:r>
              <a:rPr lang="en-US" sz="1200" dirty="0" smtClean="0">
                <a:solidFill>
                  <a:schemeClr val="accent6"/>
                </a:solidFill>
              </a:rPr>
              <a:t>On </a:t>
            </a:r>
            <a:r>
              <a:rPr lang="en-US" sz="1200" dirty="0">
                <a:solidFill>
                  <a:schemeClr val="accent6"/>
                </a:solidFill>
              </a:rPr>
              <a:t>KSK project </a:t>
            </a:r>
            <a:r>
              <a:rPr lang="bg-BG" sz="1200" dirty="0" smtClean="0">
                <a:solidFill>
                  <a:schemeClr val="accent6"/>
                </a:solidFill>
              </a:rPr>
              <a:t> </a:t>
            </a:r>
            <a:r>
              <a:rPr lang="en-US" sz="1200" dirty="0" err="1" smtClean="0">
                <a:solidFill>
                  <a:schemeClr val="accent6"/>
                </a:solidFill>
              </a:rPr>
              <a:t>MoRa</a:t>
            </a:r>
            <a:r>
              <a:rPr lang="en-US" sz="1200" dirty="0" smtClean="0">
                <a:solidFill>
                  <a:schemeClr val="accent6"/>
                </a:solidFill>
              </a:rPr>
              <a:t> we use </a:t>
            </a:r>
            <a:r>
              <a:rPr lang="en-US" sz="1200" dirty="0">
                <a:solidFill>
                  <a:schemeClr val="accent6"/>
                </a:solidFill>
              </a:rPr>
              <a:t>connector 5Q0 906 385 and 7P6 906 971 A</a:t>
            </a:r>
            <a:br>
              <a:rPr lang="en-US" sz="1200" dirty="0">
                <a:solidFill>
                  <a:schemeClr val="accent6"/>
                </a:solidFill>
              </a:rPr>
            </a:br>
            <a:r>
              <a:rPr lang="en-US" sz="1200" dirty="0">
                <a:solidFill>
                  <a:schemeClr val="accent6"/>
                </a:solidFill>
              </a:rPr>
              <a:t/>
            </a:r>
            <a:br>
              <a:rPr lang="en-US" sz="1200" dirty="0">
                <a:solidFill>
                  <a:schemeClr val="accent6"/>
                </a:solidFill>
              </a:rPr>
            </a:br>
            <a:r>
              <a:rPr lang="en-US" sz="1200" dirty="0">
                <a:solidFill>
                  <a:schemeClr val="accent6"/>
                </a:solidFill>
              </a:rPr>
              <a:t>First, on separate working place, some wires are attached to the connector (depending of the variant).</a:t>
            </a:r>
            <a:br>
              <a:rPr lang="en-US" sz="1200" dirty="0">
                <a:solidFill>
                  <a:schemeClr val="accent6"/>
                </a:solidFill>
              </a:rPr>
            </a:br>
            <a:r>
              <a:rPr lang="en-US" sz="1200" dirty="0">
                <a:solidFill>
                  <a:schemeClr val="accent6"/>
                </a:solidFill>
              </a:rPr>
              <a:t>Some of not used cavities were sealed with seal sticks. But not all cavities were sealed!</a:t>
            </a:r>
            <a:br>
              <a:rPr lang="en-US" sz="1200" dirty="0">
                <a:solidFill>
                  <a:schemeClr val="accent6"/>
                </a:solidFill>
              </a:rPr>
            </a:br>
            <a:r>
              <a:rPr lang="en-US" sz="1200" dirty="0">
                <a:solidFill>
                  <a:schemeClr val="accent6"/>
                </a:solidFill>
              </a:rPr>
              <a:t>Because other wires and sealing sticks are contacted/added at the end - on transfer line KSK. </a:t>
            </a:r>
            <a:br>
              <a:rPr lang="en-US" sz="1200" dirty="0">
                <a:solidFill>
                  <a:schemeClr val="accent6"/>
                </a:solidFill>
              </a:rPr>
            </a:br>
            <a:r>
              <a:rPr lang="en-US" sz="1200" dirty="0">
                <a:solidFill>
                  <a:schemeClr val="accent6"/>
                </a:solidFill>
              </a:rPr>
              <a:t/>
            </a:r>
            <a:br>
              <a:rPr lang="en-US" sz="1200" dirty="0">
                <a:solidFill>
                  <a:schemeClr val="accent6"/>
                </a:solidFill>
              </a:rPr>
            </a:br>
            <a:r>
              <a:rPr lang="en-US" sz="1200" dirty="0">
                <a:solidFill>
                  <a:schemeClr val="accent6"/>
                </a:solidFill>
              </a:rPr>
              <a:t>On the transfer line happens, that worker forget to insert sealing stick to the connector.</a:t>
            </a:r>
            <a:br>
              <a:rPr lang="en-US" sz="1200" dirty="0">
                <a:solidFill>
                  <a:schemeClr val="accent6"/>
                </a:solidFill>
              </a:rPr>
            </a:br>
            <a:r>
              <a:rPr lang="en-US" sz="1200" dirty="0">
                <a:solidFill>
                  <a:schemeClr val="accent6"/>
                </a:solidFill>
              </a:rPr>
              <a:t>This mistake can be found only after transfer line - on test table KSK, where all wires are already </a:t>
            </a:r>
            <a:r>
              <a:rPr lang="en-US" sz="1200" dirty="0" smtClean="0">
                <a:solidFill>
                  <a:schemeClr val="accent6"/>
                </a:solidFill>
              </a:rPr>
              <a:t>typed.</a:t>
            </a:r>
            <a:endParaRPr lang="bg-BG" sz="1200" dirty="0">
              <a:solidFill>
                <a:schemeClr val="accent6"/>
              </a:solidFill>
            </a:endParaRPr>
          </a:p>
        </p:txBody>
      </p:sp>
      <p:sp>
        <p:nvSpPr>
          <p:cNvPr id="23" name="Title 4"/>
          <p:cNvSpPr txBox="1">
            <a:spLocks/>
          </p:cNvSpPr>
          <p:nvPr/>
        </p:nvSpPr>
        <p:spPr bwMode="auto">
          <a:xfrm>
            <a:off x="107504" y="2166330"/>
            <a:ext cx="8434800" cy="167497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sz="4400" kern="1200">
                <a:solidFill>
                  <a:schemeClr val="tx1"/>
                </a:solidFill>
                <a:latin typeface="+mj-lt"/>
                <a:ea typeface="+mj-ea"/>
                <a:cs typeface="+mj-cs"/>
              </a:defRPr>
            </a:lvl1pPr>
          </a:lstStyle>
          <a:p>
            <a:r>
              <a:rPr lang="bg-BG" sz="1200" dirty="0" smtClean="0">
                <a:solidFill>
                  <a:srgbClr val="0070C0"/>
                </a:solidFill>
              </a:rPr>
              <a:t>На проект КСК Сеат </a:t>
            </a:r>
            <a:r>
              <a:rPr lang="en-US" sz="1200" dirty="0" err="1" smtClean="0">
                <a:solidFill>
                  <a:srgbClr val="0070C0"/>
                </a:solidFill>
              </a:rPr>
              <a:t>MoRa</a:t>
            </a:r>
            <a:r>
              <a:rPr lang="en-US" sz="1200" dirty="0" smtClean="0">
                <a:solidFill>
                  <a:srgbClr val="0070C0"/>
                </a:solidFill>
              </a:rPr>
              <a:t> </a:t>
            </a:r>
            <a:r>
              <a:rPr lang="bg-BG" sz="1200" dirty="0" smtClean="0">
                <a:solidFill>
                  <a:srgbClr val="0070C0"/>
                </a:solidFill>
              </a:rPr>
              <a:t>се използват</a:t>
            </a:r>
            <a:r>
              <a:rPr lang="en-US" sz="1200" dirty="0" smtClean="0">
                <a:solidFill>
                  <a:srgbClr val="0070C0"/>
                </a:solidFill>
              </a:rPr>
              <a:t> </a:t>
            </a:r>
            <a:r>
              <a:rPr lang="bg-BG" sz="1200" dirty="0" smtClean="0">
                <a:solidFill>
                  <a:srgbClr val="0070C0"/>
                </a:solidFill>
              </a:rPr>
              <a:t>главни сокети </a:t>
            </a:r>
            <a:r>
              <a:rPr lang="en-US" sz="1200" dirty="0">
                <a:solidFill>
                  <a:srgbClr val="0070C0"/>
                </a:solidFill>
              </a:rPr>
              <a:t>5Q0 906 385 </a:t>
            </a:r>
            <a:r>
              <a:rPr lang="bg-BG" sz="1200" dirty="0">
                <a:solidFill>
                  <a:srgbClr val="0070C0"/>
                </a:solidFill>
              </a:rPr>
              <a:t>и</a:t>
            </a:r>
            <a:r>
              <a:rPr lang="en-US" sz="1200" dirty="0" smtClean="0">
                <a:solidFill>
                  <a:srgbClr val="0070C0"/>
                </a:solidFill>
              </a:rPr>
              <a:t> </a:t>
            </a:r>
            <a:r>
              <a:rPr lang="en-US" sz="1200" dirty="0">
                <a:solidFill>
                  <a:srgbClr val="0070C0"/>
                </a:solidFill>
              </a:rPr>
              <a:t>7P6 906 971 </a:t>
            </a:r>
            <a:r>
              <a:rPr lang="en-US" sz="1200" dirty="0" smtClean="0">
                <a:solidFill>
                  <a:srgbClr val="0070C0"/>
                </a:solidFill>
              </a:rPr>
              <a:t>A</a:t>
            </a:r>
            <a:r>
              <a:rPr lang="bg-BG" sz="1200" dirty="0" smtClean="0">
                <a:solidFill>
                  <a:srgbClr val="0070C0"/>
                </a:solidFill>
              </a:rPr>
              <a:t> </a:t>
            </a:r>
          </a:p>
          <a:p>
            <a:r>
              <a:rPr lang="en-US" sz="1200" dirty="0">
                <a:solidFill>
                  <a:srgbClr val="0070C0"/>
                </a:solidFill>
              </a:rPr>
              <a:t/>
            </a:r>
            <a:br>
              <a:rPr lang="en-US" sz="1200" dirty="0">
                <a:solidFill>
                  <a:srgbClr val="0070C0"/>
                </a:solidFill>
              </a:rPr>
            </a:br>
            <a:r>
              <a:rPr lang="bg-BG" sz="1200" dirty="0" smtClean="0">
                <a:solidFill>
                  <a:srgbClr val="0070C0"/>
                </a:solidFill>
              </a:rPr>
              <a:t>Първоначално на самостоятелно работно място </a:t>
            </a:r>
            <a:r>
              <a:rPr lang="en-US" sz="1200" dirty="0" smtClean="0">
                <a:solidFill>
                  <a:srgbClr val="0070C0"/>
                </a:solidFill>
              </a:rPr>
              <a:t>(</a:t>
            </a:r>
            <a:r>
              <a:rPr lang="bg-BG" sz="1200" dirty="0" smtClean="0">
                <a:solidFill>
                  <a:srgbClr val="0070C0"/>
                </a:solidFill>
              </a:rPr>
              <a:t>предформ) се изработват различни базови варианти ( с различно контактуване ). Някой от гнездата където няма да се контактуват се постяват кьор клечки, но останалите остават празни,защото останалите кабели и </a:t>
            </a:r>
            <a:r>
              <a:rPr lang="bg-BG" sz="1200" dirty="0">
                <a:solidFill>
                  <a:srgbClr val="0070C0"/>
                </a:solidFill>
              </a:rPr>
              <a:t>кьор </a:t>
            </a:r>
            <a:r>
              <a:rPr lang="bg-BG" sz="1200" dirty="0" smtClean="0">
                <a:solidFill>
                  <a:srgbClr val="0070C0"/>
                </a:solidFill>
              </a:rPr>
              <a:t>клечки се контактуват на трансферната линия на КСК.</a:t>
            </a:r>
          </a:p>
          <a:p>
            <a:r>
              <a:rPr lang="bg-BG" sz="1200" dirty="0" smtClean="0">
                <a:solidFill>
                  <a:srgbClr val="0070C0"/>
                </a:solidFill>
              </a:rPr>
              <a:t>На трансфера много често се забравя да се постявят </a:t>
            </a:r>
            <a:r>
              <a:rPr lang="bg-BG" sz="1200" dirty="0">
                <a:solidFill>
                  <a:srgbClr val="0070C0"/>
                </a:solidFill>
              </a:rPr>
              <a:t>кьор </a:t>
            </a:r>
            <a:r>
              <a:rPr lang="bg-BG" sz="1200" dirty="0" smtClean="0">
                <a:solidFill>
                  <a:srgbClr val="0070C0"/>
                </a:solidFill>
              </a:rPr>
              <a:t>клечки в някое от гнездата и съответно грешката може да бъде открита чак на тест масата...</a:t>
            </a:r>
            <a:endParaRPr lang="bg-BG" sz="1200" dirty="0">
              <a:solidFill>
                <a:srgbClr val="0070C0"/>
              </a:solidFill>
            </a:endParaRPr>
          </a:p>
        </p:txBody>
      </p:sp>
      <p:sp>
        <p:nvSpPr>
          <p:cNvPr id="26" name="Rectangle 25"/>
          <p:cNvSpPr/>
          <p:nvPr/>
        </p:nvSpPr>
        <p:spPr>
          <a:xfrm>
            <a:off x="1102718" y="4365104"/>
            <a:ext cx="1366293" cy="307777"/>
          </a:xfrm>
          <a:prstGeom prst="rect">
            <a:avLst/>
          </a:prstGeom>
        </p:spPr>
        <p:txBody>
          <a:bodyPr wrap="square">
            <a:spAutoFit/>
          </a:bodyPr>
          <a:lstStyle/>
          <a:p>
            <a:r>
              <a:rPr lang="bg-BG" sz="1400" dirty="0" smtClean="0">
                <a:solidFill>
                  <a:srgbClr val="FF0000"/>
                </a:solidFill>
              </a:rPr>
              <a:t>Преди/ </a:t>
            </a:r>
            <a:r>
              <a:rPr lang="en-US" sz="1400" dirty="0">
                <a:solidFill>
                  <a:srgbClr val="FF0000"/>
                </a:solidFill>
              </a:rPr>
              <a:t>B</a:t>
            </a:r>
            <a:r>
              <a:rPr lang="en-US" sz="1400" dirty="0" smtClean="0">
                <a:solidFill>
                  <a:srgbClr val="FF0000"/>
                </a:solidFill>
              </a:rPr>
              <a:t>efore </a:t>
            </a:r>
            <a:endParaRPr lang="bg-BG" sz="1400" dirty="0">
              <a:solidFill>
                <a:srgbClr val="FF0000"/>
              </a:solidFill>
            </a:endParaRPr>
          </a:p>
        </p:txBody>
      </p:sp>
      <p:sp>
        <p:nvSpPr>
          <p:cNvPr id="27" name="Rectangle 26"/>
          <p:cNvSpPr/>
          <p:nvPr/>
        </p:nvSpPr>
        <p:spPr>
          <a:xfrm>
            <a:off x="4499992" y="4380955"/>
            <a:ext cx="1366293" cy="307777"/>
          </a:xfrm>
          <a:prstGeom prst="rect">
            <a:avLst/>
          </a:prstGeom>
        </p:spPr>
        <p:txBody>
          <a:bodyPr wrap="square">
            <a:spAutoFit/>
          </a:bodyPr>
          <a:lstStyle/>
          <a:p>
            <a:r>
              <a:rPr lang="bg-BG" sz="1400" dirty="0" smtClean="0">
                <a:solidFill>
                  <a:srgbClr val="00B050"/>
                </a:solidFill>
              </a:rPr>
              <a:t>След/ </a:t>
            </a:r>
            <a:r>
              <a:rPr lang="en-US" sz="1400" dirty="0" smtClean="0">
                <a:solidFill>
                  <a:srgbClr val="00B050"/>
                </a:solidFill>
              </a:rPr>
              <a:t>After </a:t>
            </a:r>
            <a:endParaRPr lang="bg-BG" sz="1400" dirty="0">
              <a:solidFill>
                <a:srgbClr val="00B050"/>
              </a:solidFill>
            </a:endParaRP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2295" y="3841302"/>
            <a:ext cx="1091094" cy="2210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a:xfrm>
            <a:off x="419572" y="5517232"/>
            <a:ext cx="1366293" cy="523220"/>
          </a:xfrm>
          <a:prstGeom prst="rect">
            <a:avLst/>
          </a:prstGeom>
        </p:spPr>
        <p:txBody>
          <a:bodyPr wrap="square">
            <a:spAutoFit/>
          </a:bodyPr>
          <a:lstStyle/>
          <a:p>
            <a:r>
              <a:rPr lang="en-US" sz="1400" dirty="0" smtClean="0"/>
              <a:t>This is the top mistake </a:t>
            </a:r>
            <a:endParaRPr lang="bg-BG" sz="1400" dirty="0"/>
          </a:p>
        </p:txBody>
      </p:sp>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2160" y="3735820"/>
            <a:ext cx="1184399" cy="2357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20918" y="0"/>
            <a:ext cx="1723082" cy="1827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1746882"/>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543553" y="184230"/>
            <a:ext cx="1932580" cy="369332"/>
          </a:xfrm>
          <a:prstGeom prst="rect">
            <a:avLst/>
          </a:prstGeom>
        </p:spPr>
        <p:txBody>
          <a:bodyPr wrap="none">
            <a:spAutoFit/>
          </a:bodyPr>
          <a:lstStyle/>
          <a:p>
            <a:r>
              <a:rPr lang="en-US" altLang="bg-BG" dirty="0">
                <a:solidFill>
                  <a:schemeClr val="accent6"/>
                </a:solidFill>
              </a:rPr>
              <a:t>The </a:t>
            </a:r>
            <a:r>
              <a:rPr lang="en-US" altLang="bg-BG" dirty="0" smtClean="0">
                <a:solidFill>
                  <a:schemeClr val="accent6"/>
                </a:solidFill>
              </a:rPr>
              <a:t>idea/</a:t>
            </a:r>
            <a:r>
              <a:rPr lang="bg-BG" altLang="bg-BG" dirty="0" smtClean="0">
                <a:solidFill>
                  <a:srgbClr val="0070C0"/>
                </a:solidFill>
              </a:rPr>
              <a:t>Идеята</a:t>
            </a:r>
            <a:endParaRPr lang="bg-BG" dirty="0">
              <a:solidFill>
                <a:srgbClr val="0070C0"/>
              </a:solidFill>
            </a:endParaRPr>
          </a:p>
        </p:txBody>
      </p:sp>
      <p:sp>
        <p:nvSpPr>
          <p:cNvPr id="4" name="Rectangle 3"/>
          <p:cNvSpPr/>
          <p:nvPr/>
        </p:nvSpPr>
        <p:spPr>
          <a:xfrm>
            <a:off x="721351" y="764704"/>
            <a:ext cx="8102277" cy="1015663"/>
          </a:xfrm>
          <a:prstGeom prst="rect">
            <a:avLst/>
          </a:prstGeom>
        </p:spPr>
        <p:txBody>
          <a:bodyPr wrap="square">
            <a:spAutoFit/>
          </a:bodyPr>
          <a:lstStyle/>
          <a:p>
            <a:r>
              <a:rPr lang="en-US" dirty="0" smtClean="0">
                <a:solidFill>
                  <a:schemeClr val="accent6"/>
                </a:solidFill>
              </a:rPr>
              <a:t>We </a:t>
            </a:r>
            <a:r>
              <a:rPr lang="en-US" dirty="0" smtClean="0">
                <a:solidFill>
                  <a:schemeClr val="accent6"/>
                </a:solidFill>
              </a:rPr>
              <a:t>created, new program </a:t>
            </a:r>
            <a:r>
              <a:rPr lang="en-US" dirty="0">
                <a:solidFill>
                  <a:schemeClr val="accent6"/>
                </a:solidFill>
              </a:rPr>
              <a:t>for </a:t>
            </a:r>
            <a:r>
              <a:rPr lang="en-US" dirty="0" smtClean="0">
                <a:solidFill>
                  <a:schemeClr val="accent6"/>
                </a:solidFill>
              </a:rPr>
              <a:t>the insertion and control </a:t>
            </a:r>
            <a:r>
              <a:rPr lang="en-US" dirty="0">
                <a:solidFill>
                  <a:schemeClr val="accent6"/>
                </a:solidFill>
              </a:rPr>
              <a:t>of </a:t>
            </a:r>
            <a:r>
              <a:rPr lang="en-US" dirty="0" smtClean="0">
                <a:solidFill>
                  <a:schemeClr val="accent6"/>
                </a:solidFill>
              </a:rPr>
              <a:t>sealing </a:t>
            </a:r>
            <a:r>
              <a:rPr lang="en-US" dirty="0" smtClean="0">
                <a:solidFill>
                  <a:schemeClr val="accent6"/>
                </a:solidFill>
              </a:rPr>
              <a:t>sticks.</a:t>
            </a:r>
          </a:p>
          <a:p>
            <a:r>
              <a:rPr lang="en-US" sz="1400" dirty="0" smtClean="0">
                <a:solidFill>
                  <a:schemeClr val="accent6"/>
                </a:solidFill>
              </a:rPr>
              <a:t>At workplace </a:t>
            </a:r>
            <a:r>
              <a:rPr lang="en-US" sz="1400" dirty="0" smtClean="0">
                <a:solidFill>
                  <a:schemeClr val="accent6"/>
                </a:solidFill>
              </a:rPr>
              <a:t>of screwdriver </a:t>
            </a:r>
            <a:r>
              <a:rPr lang="en-US" sz="1400" dirty="0" smtClean="0">
                <a:solidFill>
                  <a:schemeClr val="accent6"/>
                </a:solidFill>
              </a:rPr>
              <a:t>is installed </a:t>
            </a:r>
            <a:r>
              <a:rPr lang="en-US" sz="1400" dirty="0" smtClean="0">
                <a:solidFill>
                  <a:schemeClr val="accent6"/>
                </a:solidFill>
              </a:rPr>
              <a:t>additional hardware </a:t>
            </a:r>
            <a:r>
              <a:rPr lang="en-US" sz="1400" dirty="0">
                <a:solidFill>
                  <a:schemeClr val="accent6"/>
                </a:solidFill>
              </a:rPr>
              <a:t>and software </a:t>
            </a:r>
            <a:r>
              <a:rPr lang="en-US" sz="1400" dirty="0" smtClean="0">
                <a:solidFill>
                  <a:schemeClr val="accent6"/>
                </a:solidFill>
              </a:rPr>
              <a:t>for insertion and control. With it </a:t>
            </a:r>
            <a:r>
              <a:rPr lang="en-US" sz="1400" dirty="0">
                <a:solidFill>
                  <a:schemeClr val="accent6"/>
                </a:solidFill>
              </a:rPr>
              <a:t>we will </a:t>
            </a:r>
            <a:r>
              <a:rPr lang="en-US" sz="1400" dirty="0" smtClean="0">
                <a:solidFill>
                  <a:schemeClr val="accent6"/>
                </a:solidFill>
              </a:rPr>
              <a:t>locate the exact position where sealing sticks must be inserted related with the car structure. Also a visual control over the sealing stick inserted in module area is conducted.</a:t>
            </a:r>
            <a:endParaRPr lang="bg-BG" sz="1400" dirty="0">
              <a:solidFill>
                <a:schemeClr val="accent6"/>
              </a:solidFill>
            </a:endParaRPr>
          </a:p>
        </p:txBody>
      </p:sp>
      <p:sp>
        <p:nvSpPr>
          <p:cNvPr id="19" name="Rectangle 18"/>
          <p:cNvSpPr/>
          <p:nvPr/>
        </p:nvSpPr>
        <p:spPr>
          <a:xfrm>
            <a:off x="649170" y="1786593"/>
            <a:ext cx="8246640" cy="1384995"/>
          </a:xfrm>
          <a:prstGeom prst="rect">
            <a:avLst/>
          </a:prstGeom>
        </p:spPr>
        <p:txBody>
          <a:bodyPr wrap="square">
            <a:spAutoFit/>
          </a:bodyPr>
          <a:lstStyle/>
          <a:p>
            <a:r>
              <a:rPr lang="bg-BG" dirty="0" smtClean="0">
                <a:solidFill>
                  <a:srgbClr val="0070C0"/>
                </a:solidFill>
              </a:rPr>
              <a:t>Ние направихме допълнителна специална програма за </a:t>
            </a:r>
            <a:r>
              <a:rPr lang="bg-BG" dirty="0" smtClean="0">
                <a:solidFill>
                  <a:srgbClr val="0070C0"/>
                </a:solidFill>
              </a:rPr>
              <a:t>постявяне и </a:t>
            </a:r>
            <a:r>
              <a:rPr lang="bg-BG" dirty="0" smtClean="0">
                <a:solidFill>
                  <a:srgbClr val="0070C0"/>
                </a:solidFill>
              </a:rPr>
              <a:t>контрол </a:t>
            </a:r>
            <a:r>
              <a:rPr lang="bg-BG" dirty="0" smtClean="0">
                <a:solidFill>
                  <a:srgbClr val="0070C0"/>
                </a:solidFill>
              </a:rPr>
              <a:t>на кьор клечки.</a:t>
            </a:r>
          </a:p>
          <a:p>
            <a:r>
              <a:rPr lang="bg-BG" sz="1200" dirty="0" smtClean="0">
                <a:solidFill>
                  <a:srgbClr val="0070C0"/>
                </a:solidFill>
              </a:rPr>
              <a:t>На работно място отвертка е добавен хардуер и софтуер за </a:t>
            </a:r>
            <a:r>
              <a:rPr lang="bg-BG" sz="1200" dirty="0" smtClean="0">
                <a:solidFill>
                  <a:srgbClr val="0070C0"/>
                </a:solidFill>
              </a:rPr>
              <a:t>поставяне и контрол на кьор клечки. </a:t>
            </a:r>
            <a:r>
              <a:rPr lang="bg-BG" sz="1200" dirty="0" smtClean="0">
                <a:solidFill>
                  <a:srgbClr val="0070C0"/>
                </a:solidFill>
              </a:rPr>
              <a:t>По този начин ще </a:t>
            </a:r>
            <a:r>
              <a:rPr lang="bg-BG" sz="1200" dirty="0" smtClean="0">
                <a:solidFill>
                  <a:srgbClr val="0070C0"/>
                </a:solidFill>
              </a:rPr>
              <a:t>се локализират по-лесно гнездата в които трябва да има кьор клечки спрямо структурата на колата</a:t>
            </a:r>
            <a:r>
              <a:rPr lang="en-US" sz="1200" dirty="0" smtClean="0">
                <a:solidFill>
                  <a:srgbClr val="0070C0"/>
                </a:solidFill>
              </a:rPr>
              <a:t>. </a:t>
            </a:r>
            <a:r>
              <a:rPr lang="bg-BG" sz="1200" dirty="0" smtClean="0">
                <a:solidFill>
                  <a:srgbClr val="0070C0"/>
                </a:solidFill>
              </a:rPr>
              <a:t>Също така може да се контролират клечките поставени в зоната за модули </a:t>
            </a:r>
            <a:r>
              <a:rPr lang="bg-BG" sz="1200" dirty="0" smtClean="0">
                <a:solidFill>
                  <a:srgbClr val="0070C0"/>
                </a:solidFill>
              </a:rPr>
              <a:t>и при нужда, </a:t>
            </a:r>
            <a:r>
              <a:rPr lang="bg-BG" sz="1200" dirty="0" smtClean="0">
                <a:solidFill>
                  <a:srgbClr val="0070C0"/>
                </a:solidFill>
              </a:rPr>
              <a:t>съответните </a:t>
            </a:r>
            <a:r>
              <a:rPr lang="bg-BG" sz="1200" dirty="0" smtClean="0">
                <a:solidFill>
                  <a:srgbClr val="0070C0"/>
                </a:solidFill>
              </a:rPr>
              <a:t>клечки </a:t>
            </a:r>
            <a:r>
              <a:rPr lang="bg-BG" sz="1200" dirty="0" smtClean="0">
                <a:solidFill>
                  <a:srgbClr val="0070C0"/>
                </a:solidFill>
              </a:rPr>
              <a:t>да </a:t>
            </a:r>
            <a:r>
              <a:rPr lang="bg-BG" sz="1200" dirty="0" smtClean="0">
                <a:solidFill>
                  <a:srgbClr val="0070C0"/>
                </a:solidFill>
              </a:rPr>
              <a:t>се поставят.</a:t>
            </a:r>
            <a:endParaRPr lang="bg-BG" sz="1200" dirty="0">
              <a:solidFill>
                <a:srgbClr val="0070C0"/>
              </a:solidFill>
            </a:endParaRPr>
          </a:p>
        </p:txBody>
      </p:sp>
      <p:sp>
        <p:nvSpPr>
          <p:cNvPr id="20" name="Rectangle 19"/>
          <p:cNvSpPr/>
          <p:nvPr/>
        </p:nvSpPr>
        <p:spPr>
          <a:xfrm>
            <a:off x="611560" y="5013176"/>
            <a:ext cx="8102277" cy="738664"/>
          </a:xfrm>
          <a:prstGeom prst="rect">
            <a:avLst/>
          </a:prstGeom>
        </p:spPr>
        <p:txBody>
          <a:bodyPr wrap="square">
            <a:spAutoFit/>
          </a:bodyPr>
          <a:lstStyle/>
          <a:p>
            <a:r>
              <a:rPr lang="bg-BG" sz="1400" dirty="0" smtClean="0">
                <a:solidFill>
                  <a:srgbClr val="0070C0"/>
                </a:solidFill>
              </a:rPr>
              <a:t>Резултата от тази проверка е намаляване броя на допуснати грешки, намаляване на преработката на кабелни комплекти на тест масата ( добавяне на клечки ) и загубата на време за тази преработка.</a:t>
            </a:r>
            <a:endParaRPr lang="bg-BG" sz="1400" dirty="0">
              <a:solidFill>
                <a:srgbClr val="0070C0"/>
              </a:solidFill>
            </a:endParaRPr>
          </a:p>
          <a:p>
            <a:endParaRPr lang="bg-BG" sz="1400" dirty="0"/>
          </a:p>
        </p:txBody>
      </p:sp>
      <p:sp>
        <p:nvSpPr>
          <p:cNvPr id="5" name="Rectangle 4"/>
          <p:cNvSpPr/>
          <p:nvPr/>
        </p:nvSpPr>
        <p:spPr>
          <a:xfrm>
            <a:off x="612604" y="4489956"/>
            <a:ext cx="7637835" cy="523220"/>
          </a:xfrm>
          <a:prstGeom prst="rect">
            <a:avLst/>
          </a:prstGeom>
        </p:spPr>
        <p:txBody>
          <a:bodyPr wrap="square">
            <a:spAutoFit/>
          </a:bodyPr>
          <a:lstStyle/>
          <a:p>
            <a:r>
              <a:rPr lang="en-US" sz="1400" dirty="0">
                <a:solidFill>
                  <a:schemeClr val="accent6"/>
                </a:solidFill>
              </a:rPr>
              <a:t>The </a:t>
            </a:r>
            <a:r>
              <a:rPr lang="en-US" sz="1400" dirty="0" smtClean="0">
                <a:solidFill>
                  <a:schemeClr val="accent6"/>
                </a:solidFill>
              </a:rPr>
              <a:t>purpose of</a:t>
            </a:r>
            <a:r>
              <a:rPr lang="en-US" sz="1400" dirty="0" smtClean="0">
                <a:solidFill>
                  <a:schemeClr val="accent6"/>
                </a:solidFill>
              </a:rPr>
              <a:t> </a:t>
            </a:r>
            <a:r>
              <a:rPr lang="en-US" sz="1400" dirty="0">
                <a:solidFill>
                  <a:schemeClr val="accent6"/>
                </a:solidFill>
              </a:rPr>
              <a:t>this check is to reduce the number of errors, </a:t>
            </a:r>
            <a:r>
              <a:rPr lang="en-US" sz="1400" dirty="0" smtClean="0">
                <a:solidFill>
                  <a:schemeClr val="accent6"/>
                </a:solidFill>
              </a:rPr>
              <a:t>rework of </a:t>
            </a:r>
            <a:r>
              <a:rPr lang="en-US" sz="1400" dirty="0">
                <a:solidFill>
                  <a:schemeClr val="accent6"/>
                </a:solidFill>
              </a:rPr>
              <a:t>wire harnesses of test tables (adding sticks) and loss of time for this process.</a:t>
            </a:r>
            <a:endParaRPr lang="bg-BG" sz="1400" dirty="0">
              <a:solidFill>
                <a:schemeClr val="accent6"/>
              </a:solidFill>
            </a:endParaRP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82028" y="3303725"/>
            <a:ext cx="1055629" cy="1057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tangle 22"/>
          <p:cNvSpPr/>
          <p:nvPr/>
        </p:nvSpPr>
        <p:spPr>
          <a:xfrm>
            <a:off x="3310330" y="2915652"/>
            <a:ext cx="2151999" cy="369332"/>
          </a:xfrm>
          <a:prstGeom prst="rect">
            <a:avLst/>
          </a:prstGeom>
        </p:spPr>
        <p:txBody>
          <a:bodyPr wrap="none">
            <a:spAutoFit/>
          </a:bodyPr>
          <a:lstStyle/>
          <a:p>
            <a:r>
              <a:rPr lang="en-US" altLang="bg-BG" dirty="0" smtClean="0"/>
              <a:t>The result/</a:t>
            </a:r>
            <a:r>
              <a:rPr lang="bg-BG" altLang="bg-BG" dirty="0" smtClean="0">
                <a:solidFill>
                  <a:srgbClr val="0070C0"/>
                </a:solidFill>
              </a:rPr>
              <a:t>Резултата</a:t>
            </a:r>
            <a:endParaRPr lang="bg-BG" dirty="0">
              <a:solidFill>
                <a:srgbClr val="0070C0"/>
              </a:solidFill>
            </a:endParaRPr>
          </a:p>
        </p:txBody>
      </p:sp>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9237" y="3086396"/>
            <a:ext cx="2610060" cy="1284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2604" y="3107937"/>
            <a:ext cx="2653853" cy="1288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695619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3528" y="980728"/>
            <a:ext cx="8229600" cy="430014"/>
          </a:xfrm>
        </p:spPr>
        <p:txBody>
          <a:bodyPr>
            <a:normAutofit fontScale="77500" lnSpcReduction="20000"/>
          </a:bodyPr>
          <a:lstStyle/>
          <a:p>
            <a:pPr marL="0" indent="0">
              <a:buNone/>
            </a:pPr>
            <a:r>
              <a:rPr lang="bg-BG" sz="2000" dirty="0" smtClean="0">
                <a:solidFill>
                  <a:srgbClr val="0070C0"/>
                </a:solidFill>
              </a:rPr>
              <a:t>От пик листа се сканира </a:t>
            </a:r>
            <a:r>
              <a:rPr lang="en-US" sz="2000" dirty="0" smtClean="0">
                <a:solidFill>
                  <a:srgbClr val="0070C0"/>
                </a:solidFill>
              </a:rPr>
              <a:t>ZSB (0SB0…..) /</a:t>
            </a:r>
            <a:r>
              <a:rPr lang="en-US" sz="2000" dirty="0" smtClean="0"/>
              <a:t>From </a:t>
            </a:r>
            <a:r>
              <a:rPr lang="en-US" sz="2000" dirty="0"/>
              <a:t>pick list are scan ZSB (0SB0 </a:t>
            </a:r>
            <a:r>
              <a:rPr lang="en-US" sz="2000" dirty="0" smtClean="0"/>
              <a:t>.....)</a:t>
            </a:r>
            <a:endParaRPr lang="bg-BG" sz="2000" dirty="0"/>
          </a:p>
        </p:txBody>
      </p:sp>
      <p:sp>
        <p:nvSpPr>
          <p:cNvPr id="3" name="Title 2"/>
          <p:cNvSpPr>
            <a:spLocks noGrp="1"/>
          </p:cNvSpPr>
          <p:nvPr>
            <p:ph type="title"/>
          </p:nvPr>
        </p:nvSpPr>
        <p:spPr>
          <a:xfrm>
            <a:off x="3059832" y="116632"/>
            <a:ext cx="3495541" cy="305508"/>
          </a:xfrm>
        </p:spPr>
        <p:txBody>
          <a:bodyPr/>
          <a:lstStyle/>
          <a:p>
            <a:r>
              <a:rPr lang="en-US" sz="2000" dirty="0" smtClean="0">
                <a:solidFill>
                  <a:schemeClr val="accent6"/>
                </a:solidFill>
              </a:rPr>
              <a:t>The program</a:t>
            </a:r>
            <a:r>
              <a:rPr lang="en-US" sz="2000" dirty="0" smtClean="0"/>
              <a:t>/ </a:t>
            </a:r>
            <a:r>
              <a:rPr lang="bg-BG" sz="2000" dirty="0" smtClean="0">
                <a:solidFill>
                  <a:srgbClr val="0070C0"/>
                </a:solidFill>
              </a:rPr>
              <a:t>Програмата</a:t>
            </a:r>
            <a:endParaRPr lang="bg-BG" sz="2000" dirty="0">
              <a:solidFill>
                <a:srgbClr val="0070C0"/>
              </a:solidFill>
            </a:endParaRPr>
          </a:p>
        </p:txBody>
      </p:sp>
      <p:sp>
        <p:nvSpPr>
          <p:cNvPr id="5" name="Rectangle 4"/>
          <p:cNvSpPr/>
          <p:nvPr/>
        </p:nvSpPr>
        <p:spPr>
          <a:xfrm>
            <a:off x="2112650" y="2564904"/>
            <a:ext cx="184731" cy="2308324"/>
          </a:xfrm>
          <a:prstGeom prst="rect">
            <a:avLst/>
          </a:prstGeom>
        </p:spPr>
        <p:txBody>
          <a:bodyPr wrap="none">
            <a:spAutoFit/>
          </a:bodyPr>
          <a:lstStyle/>
          <a:p>
            <a:endParaRPr lang="bg-BG" dirty="0" smtClean="0"/>
          </a:p>
          <a:p>
            <a:endParaRPr lang="bg-BG" dirty="0"/>
          </a:p>
          <a:p>
            <a:endParaRPr lang="bg-BG" dirty="0" smtClean="0"/>
          </a:p>
          <a:p>
            <a:endParaRPr lang="bg-BG" dirty="0"/>
          </a:p>
          <a:p>
            <a:endParaRPr lang="bg-BG" dirty="0" smtClean="0"/>
          </a:p>
          <a:p>
            <a:endParaRPr lang="bg-BG" dirty="0"/>
          </a:p>
          <a:p>
            <a:endParaRPr lang="bg-BG" dirty="0" smtClean="0"/>
          </a:p>
          <a:p>
            <a:endParaRPr lang="bg-BG" dirty="0"/>
          </a:p>
        </p:txBody>
      </p:sp>
      <p:sp>
        <p:nvSpPr>
          <p:cNvPr id="6" name="Rectangle 5"/>
          <p:cNvSpPr/>
          <p:nvPr/>
        </p:nvSpPr>
        <p:spPr>
          <a:xfrm>
            <a:off x="2657867" y="3244334"/>
            <a:ext cx="184731" cy="2308324"/>
          </a:xfrm>
          <a:prstGeom prst="rect">
            <a:avLst/>
          </a:prstGeom>
        </p:spPr>
        <p:txBody>
          <a:bodyPr wrap="none">
            <a:spAutoFit/>
          </a:bodyPr>
          <a:lstStyle/>
          <a:p>
            <a:endParaRPr lang="en-US" dirty="0"/>
          </a:p>
          <a:p>
            <a:endParaRPr lang="en-US" dirty="0"/>
          </a:p>
          <a:p>
            <a:endParaRPr lang="en-US" dirty="0" smtClean="0"/>
          </a:p>
          <a:p>
            <a:endParaRPr lang="en-US" dirty="0"/>
          </a:p>
          <a:p>
            <a:endParaRPr lang="en-US" dirty="0" smtClean="0"/>
          </a:p>
          <a:p>
            <a:endParaRPr lang="en-US" dirty="0"/>
          </a:p>
          <a:p>
            <a:endParaRPr lang="en-US" dirty="0" smtClean="0"/>
          </a:p>
          <a:p>
            <a:endParaRPr lang="bg-BG"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9832" y="1834244"/>
            <a:ext cx="2990850" cy="155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611560" y="5013176"/>
            <a:ext cx="8102277" cy="646331"/>
          </a:xfrm>
          <a:prstGeom prst="rect">
            <a:avLst/>
          </a:prstGeom>
        </p:spPr>
        <p:txBody>
          <a:bodyPr wrap="square">
            <a:spAutoFit/>
          </a:bodyPr>
          <a:lstStyle/>
          <a:p>
            <a:r>
              <a:rPr lang="bg-BG" dirty="0">
                <a:solidFill>
                  <a:srgbClr val="0070C0"/>
                </a:solidFill>
              </a:rPr>
              <a:t>П</a:t>
            </a:r>
            <a:r>
              <a:rPr lang="bg-BG" dirty="0" smtClean="0">
                <a:solidFill>
                  <a:srgbClr val="0070C0"/>
                </a:solidFill>
              </a:rPr>
              <a:t>рограмата стартира виртуален образец, който показва разположението на кабели и кьор клечки за съответната структура.</a:t>
            </a:r>
            <a:endParaRPr lang="bg-BG" dirty="0">
              <a:solidFill>
                <a:srgbClr val="0070C0"/>
              </a:solidFill>
            </a:endParaRPr>
          </a:p>
        </p:txBody>
      </p:sp>
      <p:sp>
        <p:nvSpPr>
          <p:cNvPr id="10" name="Rectangle 9"/>
          <p:cNvSpPr/>
          <p:nvPr/>
        </p:nvSpPr>
        <p:spPr>
          <a:xfrm>
            <a:off x="633021" y="3933056"/>
            <a:ext cx="7488832" cy="646331"/>
          </a:xfrm>
          <a:prstGeom prst="rect">
            <a:avLst/>
          </a:prstGeom>
        </p:spPr>
        <p:txBody>
          <a:bodyPr wrap="square">
            <a:spAutoFit/>
          </a:bodyPr>
          <a:lstStyle/>
          <a:p>
            <a:r>
              <a:rPr lang="en-US" dirty="0">
                <a:solidFill>
                  <a:schemeClr val="accent6"/>
                </a:solidFill>
              </a:rPr>
              <a:t>In this way, the program started a virtual sample that shows the location of cables and seal stick for the corresponding structure</a:t>
            </a:r>
            <a:endParaRPr lang="bg-BG" dirty="0">
              <a:solidFill>
                <a:schemeClr val="accent6"/>
              </a:solidFill>
            </a:endParaRPr>
          </a:p>
        </p:txBody>
      </p:sp>
      <p:pic>
        <p:nvPicPr>
          <p:cNvPr id="4100"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7624" y="1412776"/>
            <a:ext cx="1339230" cy="1384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502919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54360" y="4653136"/>
            <a:ext cx="8589640" cy="1512168"/>
          </a:xfrm>
        </p:spPr>
        <p:txBody>
          <a:bodyPr>
            <a:normAutofit fontScale="85000" lnSpcReduction="20000"/>
          </a:bodyPr>
          <a:lstStyle/>
          <a:p>
            <a:pPr marL="0" indent="0">
              <a:buNone/>
            </a:pPr>
            <a:endParaRPr lang="en-US" sz="1800" dirty="0" smtClean="0"/>
          </a:p>
          <a:p>
            <a:pPr marL="0" indent="0">
              <a:buNone/>
            </a:pPr>
            <a:r>
              <a:rPr lang="en-US" sz="2100" dirty="0" smtClean="0"/>
              <a:t>….So </a:t>
            </a:r>
            <a:r>
              <a:rPr lang="en-US" sz="2100" dirty="0"/>
              <a:t>the operator can make a </a:t>
            </a:r>
            <a:r>
              <a:rPr lang="en-US" sz="2100" dirty="0" smtClean="0"/>
              <a:t>additional check </a:t>
            </a:r>
            <a:r>
              <a:rPr lang="en-US" sz="2100" dirty="0"/>
              <a:t>review of seal sticks and if necessary he will </a:t>
            </a:r>
            <a:r>
              <a:rPr lang="en-US" sz="2100" dirty="0" smtClean="0"/>
              <a:t>add the missing one </a:t>
            </a:r>
            <a:endParaRPr lang="en-US" sz="2100" dirty="0"/>
          </a:p>
          <a:p>
            <a:pPr marL="0" indent="0">
              <a:buNone/>
            </a:pPr>
            <a:r>
              <a:rPr lang="en-US" sz="2100" dirty="0" smtClean="0">
                <a:solidFill>
                  <a:srgbClr val="0070C0"/>
                </a:solidFill>
              </a:rPr>
              <a:t>……</a:t>
            </a:r>
            <a:r>
              <a:rPr lang="bg-BG" sz="2100" dirty="0" smtClean="0">
                <a:solidFill>
                  <a:srgbClr val="0070C0"/>
                </a:solidFill>
              </a:rPr>
              <a:t>По този начин оператора може да направи междинна проверка на наличието на кьор клечките и ако е нужно да се добави необходимото количество.</a:t>
            </a:r>
            <a:endParaRPr lang="bg-BG" sz="2100" dirty="0">
              <a:solidFill>
                <a:srgbClr val="0070C0"/>
              </a:solidFill>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9632" y="764705"/>
            <a:ext cx="6192688" cy="4059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9328478"/>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63688" y="767639"/>
            <a:ext cx="5515669" cy="4067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4932040" y="4864585"/>
            <a:ext cx="3744416" cy="1200329"/>
          </a:xfrm>
          <a:prstGeom prst="rect">
            <a:avLst/>
          </a:prstGeom>
        </p:spPr>
        <p:txBody>
          <a:bodyPr wrap="square">
            <a:spAutoFit/>
          </a:bodyPr>
          <a:lstStyle/>
          <a:p>
            <a:r>
              <a:rPr lang="ru-RU" dirty="0" smtClean="0">
                <a:solidFill>
                  <a:srgbClr val="0070C0"/>
                </a:solidFill>
              </a:rPr>
              <a:t>Работното място изглежда по този начин и предварително е съгласувано и направено спрямо нуждите на производството.</a:t>
            </a:r>
            <a:endParaRPr lang="bg-BG" dirty="0">
              <a:solidFill>
                <a:srgbClr val="0070C0"/>
              </a:solidFill>
            </a:endParaRPr>
          </a:p>
        </p:txBody>
      </p:sp>
      <p:sp>
        <p:nvSpPr>
          <p:cNvPr id="8" name="Rectangle 7"/>
          <p:cNvSpPr/>
          <p:nvPr/>
        </p:nvSpPr>
        <p:spPr>
          <a:xfrm>
            <a:off x="539552" y="4835241"/>
            <a:ext cx="3363019" cy="1200329"/>
          </a:xfrm>
          <a:prstGeom prst="rect">
            <a:avLst/>
          </a:prstGeom>
        </p:spPr>
        <p:txBody>
          <a:bodyPr wrap="square">
            <a:spAutoFit/>
          </a:bodyPr>
          <a:lstStyle/>
          <a:p>
            <a:r>
              <a:rPr lang="en-US" dirty="0">
                <a:solidFill>
                  <a:schemeClr val="accent6"/>
                </a:solidFill>
              </a:rPr>
              <a:t>The </a:t>
            </a:r>
            <a:r>
              <a:rPr lang="en-US" dirty="0" smtClean="0">
                <a:solidFill>
                  <a:schemeClr val="accent6"/>
                </a:solidFill>
              </a:rPr>
              <a:t>workplace layout </a:t>
            </a:r>
            <a:r>
              <a:rPr lang="en-US" dirty="0">
                <a:solidFill>
                  <a:schemeClr val="accent6"/>
                </a:solidFill>
              </a:rPr>
              <a:t>will look like </a:t>
            </a:r>
            <a:r>
              <a:rPr lang="en-US" dirty="0" smtClean="0">
                <a:solidFill>
                  <a:schemeClr val="accent6"/>
                </a:solidFill>
              </a:rPr>
              <a:t>this. It is coordinated with the PPR and it is according their needs.</a:t>
            </a:r>
            <a:endParaRPr lang="bg-BG" dirty="0">
              <a:solidFill>
                <a:schemeClr val="accent6"/>
              </a:solidFill>
            </a:endParaRPr>
          </a:p>
        </p:txBody>
      </p:sp>
    </p:spTree>
    <p:extLst>
      <p:ext uri="{BB962C8B-B14F-4D97-AF65-F5344CB8AC3E}">
        <p14:creationId xmlns:p14="http://schemas.microsoft.com/office/powerpoint/2010/main" val="241572777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80092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kt 4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feld 10"/>
          <p:cNvSpPr txBox="1"/>
          <p:nvPr/>
        </p:nvSpPr>
        <p:spPr>
          <a:xfrm>
            <a:off x="179512" y="0"/>
            <a:ext cx="7643925" cy="246221"/>
          </a:xfrm>
          <a:prstGeom prst="rect">
            <a:avLst/>
          </a:prstGeom>
          <a:noFill/>
        </p:spPr>
        <p:txBody>
          <a:bodyPr wrap="square" lIns="0" rtlCol="0">
            <a:spAutoFit/>
          </a:bodyPr>
          <a:lstStyle/>
          <a:p>
            <a:pPr lvl="0"/>
            <a:r>
              <a:rPr lang="de-DE" sz="1000" b="1" dirty="0" smtClean="0">
                <a:solidFill>
                  <a:srgbClr val="80FF00"/>
                </a:solidFill>
              </a:rPr>
              <a:t>INTERNAL</a:t>
            </a:r>
            <a:endParaRPr lang="de-DE" sz="1000" b="1" dirty="0">
              <a:solidFill>
                <a:srgbClr val="FF0000"/>
              </a:solidFill>
            </a:endParaRPr>
          </a:p>
        </p:txBody>
      </p:sp>
    </p:spTree>
    <p:extLst>
      <p:ext uri="{BB962C8B-B14F-4D97-AF65-F5344CB8AC3E}">
        <p14:creationId xmlns:p14="http://schemas.microsoft.com/office/powerpoint/2010/main" val="185402495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ZnkGZGYHk231nNKZEoD3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qpWDfIV00m_zJHqm.kRu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BFhCKsZuUGpN08FPZN7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BFhCKsZuUGpN08FPZN7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BFhCKsZuUGpN08FPZN7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ZnkGZGYHk231nNKZEoD3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qpWDfIV00m_zJHqm.kR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NYyP1qV8UK0q7NlkFec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mMsbq_EzUCAvkPEz_UL9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bWwUFgcxkSpqh1f0U_S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X04qo1vW0GhCwDga2WK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E8eUX1ZCEGSZaXhQ13a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6LhCCEEPkKl39QoaAQ9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gQsemfEU06.3SZRh7QD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NYyP1qV8UK0q7NlkFec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mMsbq_EzUCAvkPEz_UL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ZnkGZGYHk231nNKZEoD3w"/>
</p:tagLst>
</file>

<file path=ppt/theme/theme1.xml><?xml version="1.0" encoding="utf-8"?>
<a:theme xmlns:a="http://schemas.openxmlformats.org/drawingml/2006/main" name="SEBN_120928_ppt template_EN_v3.0">
  <a:themeElements>
    <a:clrScheme name="SEBN_120215_vff">
      <a:dk1>
        <a:srgbClr val="004E9E"/>
      </a:dk1>
      <a:lt1>
        <a:srgbClr val="FFFFFF"/>
      </a:lt1>
      <a:dk2>
        <a:srgbClr val="004E9E"/>
      </a:dk2>
      <a:lt2>
        <a:srgbClr val="FFFFFF"/>
      </a:lt2>
      <a:accent1>
        <a:srgbClr val="CED8FE"/>
      </a:accent1>
      <a:accent2>
        <a:srgbClr val="9DB1FD"/>
      </a:accent2>
      <a:accent3>
        <a:srgbClr val="6C8AFC"/>
      </a:accent3>
      <a:accent4>
        <a:srgbClr val="3B63FB"/>
      </a:accent4>
      <a:accent5>
        <a:srgbClr val="004E9E"/>
      </a:accent5>
      <a:accent6>
        <a:srgbClr val="000000"/>
      </a:accent6>
      <a:hlink>
        <a:srgbClr val="004E9E"/>
      </a:hlink>
      <a:folHlink>
        <a:srgbClr val="EA8254"/>
      </a:folHlink>
    </a:clrScheme>
    <a:fontScheme name="1_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EBN_ppt master_english_BG_20161025</Template>
  <TotalTime>259</TotalTime>
  <Words>452</Words>
  <Application>Microsoft Office PowerPoint</Application>
  <PresentationFormat>On-screen Show (4:3)</PresentationFormat>
  <Paragraphs>51</Paragraphs>
  <Slides>9</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SEBN_120928_ppt template_EN_v3.0</vt:lpstr>
      <vt:lpstr>think-cell Slide</vt:lpstr>
      <vt:lpstr>PowerPoint Presentation</vt:lpstr>
      <vt:lpstr>PowerPoint Presentation</vt:lpstr>
      <vt:lpstr>On KSK project  MoRa we use connector 5Q0 906 385 and 7P6 906 971 A  First, on separate working place, some wires are attached to the connector (depending of the variant). Some of not used cavities were sealed with seal sticks. But not all cavities were sealed! Because other wires and sealing sticks are contacted/added at the end - on transfer line KSK.   On the transfer line happens, that worker forget to insert sealing stick to the connector. This mistake can be found only after transfer line - on test table KSK, where all wires are already typed.</vt:lpstr>
      <vt:lpstr>PowerPoint Presentation</vt:lpstr>
      <vt:lpstr>The program/ Програмата</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cept for avoiding mixing of ABS/ESP  Yeti KSK</dc:title>
  <dc:creator>Kiril Ivanov</dc:creator>
  <cp:lastModifiedBy>Kiril Ivanov</cp:lastModifiedBy>
  <cp:revision>24</cp:revision>
  <dcterms:created xsi:type="dcterms:W3CDTF">2017-01-13T11:43:41Z</dcterms:created>
  <dcterms:modified xsi:type="dcterms:W3CDTF">2017-01-24T07:16:55Z</dcterms:modified>
</cp:coreProperties>
</file>